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embedTrueTypeFonts="1" saveSubsetFonts="1" autoCompressPictures="0" bookmarkIdSeed="3">
  <p:sldMasterIdLst>
    <p:sldMasterId id="2147483938" r:id="rId1"/>
  </p:sldMasterIdLst>
  <p:notesMasterIdLst>
    <p:notesMasterId r:id="rId53"/>
  </p:notesMasterIdLst>
  <p:handoutMasterIdLst>
    <p:handoutMasterId r:id="rId54"/>
  </p:handoutMasterIdLst>
  <p:sldIdLst>
    <p:sldId id="7847" r:id="rId2"/>
    <p:sldId id="259" r:id="rId3"/>
    <p:sldId id="8294" r:id="rId4"/>
    <p:sldId id="8291" r:id="rId5"/>
    <p:sldId id="8314" r:id="rId6"/>
    <p:sldId id="8315" r:id="rId7"/>
    <p:sldId id="8455" r:id="rId8"/>
    <p:sldId id="8496" r:id="rId9"/>
    <p:sldId id="8494" r:id="rId10"/>
    <p:sldId id="8495" r:id="rId11"/>
    <p:sldId id="8497" r:id="rId12"/>
    <p:sldId id="8498" r:id="rId13"/>
    <p:sldId id="8502" r:id="rId14"/>
    <p:sldId id="8499" r:id="rId15"/>
    <p:sldId id="8569" r:id="rId16"/>
    <p:sldId id="8501" r:id="rId17"/>
    <p:sldId id="8503" r:id="rId18"/>
    <p:sldId id="8505" r:id="rId19"/>
    <p:sldId id="8566" r:id="rId20"/>
    <p:sldId id="8504" r:id="rId21"/>
    <p:sldId id="8507" r:id="rId22"/>
    <p:sldId id="8508" r:id="rId23"/>
    <p:sldId id="8509" r:id="rId24"/>
    <p:sldId id="8510" r:id="rId25"/>
    <p:sldId id="8533" r:id="rId26"/>
    <p:sldId id="8511" r:id="rId27"/>
    <p:sldId id="8512" r:id="rId28"/>
    <p:sldId id="8567" r:id="rId29"/>
    <p:sldId id="8514" r:id="rId30"/>
    <p:sldId id="8568" r:id="rId31"/>
    <p:sldId id="8513" r:id="rId32"/>
    <p:sldId id="8515" r:id="rId33"/>
    <p:sldId id="8517" r:id="rId34"/>
    <p:sldId id="8518" r:id="rId35"/>
    <p:sldId id="8519" r:id="rId36"/>
    <p:sldId id="8520" r:id="rId37"/>
    <p:sldId id="8521" r:id="rId38"/>
    <p:sldId id="8522" r:id="rId39"/>
    <p:sldId id="8523" r:id="rId40"/>
    <p:sldId id="8524" r:id="rId41"/>
    <p:sldId id="8525" r:id="rId42"/>
    <p:sldId id="8526" r:id="rId43"/>
    <p:sldId id="8527" r:id="rId44"/>
    <p:sldId id="8529" r:id="rId45"/>
    <p:sldId id="8534" r:id="rId46"/>
    <p:sldId id="8535" r:id="rId47"/>
    <p:sldId id="8536" r:id="rId48"/>
    <p:sldId id="8537" r:id="rId49"/>
    <p:sldId id="8538" r:id="rId50"/>
    <p:sldId id="8530" r:id="rId51"/>
    <p:sldId id="8531" r:id="rId52"/>
  </p:sldIdLst>
  <p:sldSz cx="12192000" cy="6858000"/>
  <p:notesSz cx="6802438" cy="9934575"/>
  <p:embeddedFontLst>
    <p:embeddedFont>
      <p:font typeface="나눔바른고딕" panose="020B0603020101020101" pitchFamily="34" charset="-127"/>
      <p:regular r:id="rId55"/>
      <p:bold r:id="rId56"/>
    </p:embeddedFont>
    <p:embeddedFont>
      <p:font typeface="맑은 고딕" panose="020B0503020000020004" pitchFamily="34" charset="-127"/>
      <p:regular r:id="rId57"/>
      <p:bold r:id="rId58"/>
    </p:embeddedFont>
    <p:embeddedFont>
      <p:font typeface="나눔고딕" panose="020D0604000000000000" pitchFamily="34" charset="-127"/>
      <p:regular r:id="rId59"/>
      <p:bold r:id="rId60"/>
    </p:embeddedFont>
  </p:embeddedFont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기본 구역" id="{220AC372-27EA-438D-A28E-A6C0BD881486}">
          <p14:sldIdLst>
            <p14:sldId id="7847"/>
            <p14:sldId id="259"/>
          </p14:sldIdLst>
        </p14:section>
        <p14:section name="플랫폼" id="{B3556566-3105-478C-BB31-9BEC6555B53C}">
          <p14:sldIdLst/>
        </p14:section>
        <p14:section name="서비스" id="{8A63EA14-1EA6-4483-942D-E4F222C0E5ED}">
          <p14:sldIdLst/>
        </p14:section>
        <p14:section name="이용자앱" id="{0E148DA3-9BD1-4A8D-86AD-18CB596E146E}">
          <p14:sldIdLst>
            <p14:sldId id="8294"/>
            <p14:sldId id="8291"/>
            <p14:sldId id="8314"/>
            <p14:sldId id="8315"/>
            <p14:sldId id="8455"/>
            <p14:sldId id="8496"/>
            <p14:sldId id="8494"/>
            <p14:sldId id="8495"/>
            <p14:sldId id="8497"/>
            <p14:sldId id="8498"/>
            <p14:sldId id="8502"/>
            <p14:sldId id="8499"/>
            <p14:sldId id="8569"/>
            <p14:sldId id="8501"/>
            <p14:sldId id="8503"/>
            <p14:sldId id="8505"/>
            <p14:sldId id="8566"/>
            <p14:sldId id="8504"/>
            <p14:sldId id="8507"/>
            <p14:sldId id="8508"/>
            <p14:sldId id="8509"/>
            <p14:sldId id="8510"/>
            <p14:sldId id="8533"/>
            <p14:sldId id="8511"/>
            <p14:sldId id="8512"/>
            <p14:sldId id="8567"/>
            <p14:sldId id="8514"/>
            <p14:sldId id="8568"/>
            <p14:sldId id="8513"/>
            <p14:sldId id="8515"/>
            <p14:sldId id="8517"/>
            <p14:sldId id="8518"/>
            <p14:sldId id="8519"/>
            <p14:sldId id="8520"/>
            <p14:sldId id="8521"/>
            <p14:sldId id="8522"/>
            <p14:sldId id="8523"/>
            <p14:sldId id="8524"/>
            <p14:sldId id="8525"/>
            <p14:sldId id="8526"/>
            <p14:sldId id="8527"/>
            <p14:sldId id="8529"/>
            <p14:sldId id="8534"/>
            <p14:sldId id="8535"/>
            <p14:sldId id="8536"/>
            <p14:sldId id="8537"/>
            <p14:sldId id="8538"/>
            <p14:sldId id="8530"/>
            <p14:sldId id="8531"/>
          </p14:sldIdLst>
        </p14:section>
        <p14:section name="배달자앱" id="{21E868F6-9D03-4E35-96C4-B52996AA5207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9" userDrawn="1">
          <p15:clr>
            <a:srgbClr val="A4A3A4"/>
          </p15:clr>
        </p15:guide>
        <p15:guide id="2" pos="21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이 선혜" initials="이선" lastIdx="1" clrIdx="0">
    <p:extLst>
      <p:ext uri="{19B8F6BF-5375-455C-9EA6-DF929625EA0E}">
        <p15:presenceInfo xmlns:p15="http://schemas.microsoft.com/office/powerpoint/2012/main" userId="4d0ba9da6345bd75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4ACA8"/>
    <a:srgbClr val="4CAF50"/>
    <a:srgbClr val="ED7D31"/>
    <a:srgbClr val="000000"/>
    <a:srgbClr val="3F51B5"/>
    <a:srgbClr val="7367EE"/>
    <a:srgbClr val="7E7E7D"/>
    <a:srgbClr val="8A0000"/>
    <a:srgbClr val="D60000"/>
    <a:srgbClr val="F8CBA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1D254E1-E8F4-441D-A292-8E09F5AE2868}" v="10" dt="2023-07-04T04:37:26.87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TxStyle/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TxStyle/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CF1AB2-1976-4502-BF36-3FF5EA218861}" styleName="보통 스타일 4 - 강조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35758FB7-9AC5-4552-8A53-C91805E547FA}" styleName="테마 스타일 1 - 강조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93296810-A885-4BE3-A3E7-6D5BEEA58F35}" styleName="보통 스타일 2 - 강조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보통 스타일 2 - 강조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6D9F66E-5EB9-4882-86FB-DCBF35E3C3E4}" styleName="보통 스타일 4 - 강조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0505E3EF-67EA-436B-97B2-0124C06EBD24}" styleName="보통 스타일 4 - 강조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22838BEF-8BB2-4498-84A7-C5851F593DF1}" styleName="보통 스타일 4 - 강조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8A107856-5554-42FB-B03E-39F5DBC370BA}" styleName="보통 스타일 4 - 강조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2D5ABB26-0587-4C30-8999-92F81FD0307C}" styleName="스타일 없음, 눈금 없음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06799F8-075E-4A3A-A7F6-7FBC6576F1A4}" styleName="테마 스타일 2 - 강조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266" autoAdjust="0"/>
    <p:restoredTop sz="84840" autoAdjust="0"/>
  </p:normalViewPr>
  <p:slideViewPr>
    <p:cSldViewPr>
      <p:cViewPr varScale="1">
        <p:scale>
          <a:sx n="188" d="100"/>
          <a:sy n="188" d="100"/>
        </p:scale>
        <p:origin x="2680" y="19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howGuides="1">
      <p:cViewPr>
        <p:scale>
          <a:sx n="75" d="100"/>
          <a:sy n="75" d="100"/>
        </p:scale>
        <p:origin x="4104" y="234"/>
      </p:cViewPr>
      <p:guideLst>
        <p:guide orient="horz" pos="3129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font" Target="fonts/font1.fntdata"/><Relationship Id="rId63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notesMaster" Target="notesMasters/notesMaster1.xml"/><Relationship Id="rId58" Type="http://schemas.openxmlformats.org/officeDocument/2006/relationships/font" Target="fonts/font4.fntdata"/><Relationship Id="rId66" Type="http://schemas.microsoft.com/office/2016/11/relationships/changesInfo" Target="changesInfos/changesInfo1.xml"/><Relationship Id="rId5" Type="http://schemas.openxmlformats.org/officeDocument/2006/relationships/slide" Target="slides/slide4.xml"/><Relationship Id="rId61" Type="http://schemas.openxmlformats.org/officeDocument/2006/relationships/commentAuthors" Target="commentAuthor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font" Target="fonts/font2.fntdata"/><Relationship Id="rId64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font" Target="fonts/font5.fntdata"/><Relationship Id="rId67" Type="http://schemas.microsoft.com/office/2015/10/relationships/revisionInfo" Target="revisionInfo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handoutMaster" Target="handoutMasters/handoutMaster1.xml"/><Relationship Id="rId62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font" Target="fonts/font3.fntdata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font" Target="fonts/font6.fntdata"/><Relationship Id="rId65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이 선혜" userId="4d0ba9da6345bd75" providerId="LiveId" clId="{61D254E1-E8F4-441D-A292-8E09F5AE2868}"/>
    <pc:docChg chg="undo custSel modSld">
      <pc:chgData name="이 선혜" userId="4d0ba9da6345bd75" providerId="LiveId" clId="{61D254E1-E8F4-441D-A292-8E09F5AE2868}" dt="2023-07-04T04:37:39.254" v="270" actId="20577"/>
      <pc:docMkLst>
        <pc:docMk/>
      </pc:docMkLst>
      <pc:sldChg chg="modSp mod">
        <pc:chgData name="이 선혜" userId="4d0ba9da6345bd75" providerId="LiveId" clId="{61D254E1-E8F4-441D-A292-8E09F5AE2868}" dt="2023-07-03T06:23:00.558" v="98" actId="12"/>
        <pc:sldMkLst>
          <pc:docMk/>
          <pc:sldMk cId="986848598" sldId="8314"/>
        </pc:sldMkLst>
        <pc:graphicFrameChg chg="modGraphic">
          <ac:chgData name="이 선혜" userId="4d0ba9da6345bd75" providerId="LiveId" clId="{61D254E1-E8F4-441D-A292-8E09F5AE2868}" dt="2023-07-03T06:23:00.558" v="98" actId="12"/>
          <ac:graphicFrameMkLst>
            <pc:docMk/>
            <pc:sldMk cId="986848598" sldId="8314"/>
            <ac:graphicFrameMk id="5" creationId="{CC2D0BAC-D7A7-42EE-8A7D-C4921F2D34F5}"/>
          </ac:graphicFrameMkLst>
        </pc:graphicFrameChg>
      </pc:sldChg>
      <pc:sldChg chg="addSp delSp modSp mod">
        <pc:chgData name="이 선혜" userId="4d0ba9da6345bd75" providerId="LiveId" clId="{61D254E1-E8F4-441D-A292-8E09F5AE2868}" dt="2023-06-23T01:26:12.851" v="95" actId="478"/>
        <pc:sldMkLst>
          <pc:docMk/>
          <pc:sldMk cId="4081639327" sldId="8495"/>
        </pc:sldMkLst>
        <pc:spChg chg="add del mod">
          <ac:chgData name="이 선혜" userId="4d0ba9da6345bd75" providerId="LiveId" clId="{61D254E1-E8F4-441D-A292-8E09F5AE2868}" dt="2023-06-23T01:09:54.288" v="51" actId="478"/>
          <ac:spMkLst>
            <pc:docMk/>
            <pc:sldMk cId="4081639327" sldId="8495"/>
            <ac:spMk id="3" creationId="{C56DBC45-6459-4C59-884A-CC14D4D74AFD}"/>
          </ac:spMkLst>
        </pc:spChg>
        <pc:spChg chg="add del mod">
          <ac:chgData name="이 선혜" userId="4d0ba9da6345bd75" providerId="LiveId" clId="{61D254E1-E8F4-441D-A292-8E09F5AE2868}" dt="2023-06-23T01:26:12.851" v="95" actId="478"/>
          <ac:spMkLst>
            <pc:docMk/>
            <pc:sldMk cId="4081639327" sldId="8495"/>
            <ac:spMk id="11" creationId="{6756AA5D-2A64-4028-9523-56EFBABF5D1A}"/>
          </ac:spMkLst>
        </pc:spChg>
        <pc:graphicFrameChg chg="add del mod modGraphic">
          <ac:chgData name="이 선혜" userId="4d0ba9da6345bd75" providerId="LiveId" clId="{61D254E1-E8F4-441D-A292-8E09F5AE2868}" dt="2023-06-23T01:26:10.683" v="94" actId="478"/>
          <ac:graphicFrameMkLst>
            <pc:docMk/>
            <pc:sldMk cId="4081639327" sldId="8495"/>
            <ac:graphicFrameMk id="14" creationId="{759C3900-B0DE-45F5-985B-E33AC08EDD1D}"/>
          </ac:graphicFrameMkLst>
        </pc:graphicFrameChg>
      </pc:sldChg>
      <pc:sldChg chg="addSp delSp modSp mod">
        <pc:chgData name="이 선혜" userId="4d0ba9da6345bd75" providerId="LiveId" clId="{61D254E1-E8F4-441D-A292-8E09F5AE2868}" dt="2023-07-04T04:36:53.437" v="236" actId="20577"/>
        <pc:sldMkLst>
          <pc:docMk/>
          <pc:sldMk cId="1969065447" sldId="8511"/>
        </pc:sldMkLst>
        <pc:spChg chg="mod">
          <ac:chgData name="이 선혜" userId="4d0ba9da6345bd75" providerId="LiveId" clId="{61D254E1-E8F4-441D-A292-8E09F5AE2868}" dt="2023-07-04T04:36:53.437" v="236" actId="20577"/>
          <ac:spMkLst>
            <pc:docMk/>
            <pc:sldMk cId="1969065447" sldId="8511"/>
            <ac:spMk id="11" creationId="{782E139A-F48C-4426-9CCF-62AA45D4F798}"/>
          </ac:spMkLst>
        </pc:spChg>
        <pc:spChg chg="mod">
          <ac:chgData name="이 선혜" userId="4d0ba9da6345bd75" providerId="LiveId" clId="{61D254E1-E8F4-441D-A292-8E09F5AE2868}" dt="2023-07-04T04:36:27.780" v="99"/>
          <ac:spMkLst>
            <pc:docMk/>
            <pc:sldMk cId="1969065447" sldId="8511"/>
            <ac:spMk id="14" creationId="{39B8626D-DB7F-4160-89B6-3BF1C8960547}"/>
          </ac:spMkLst>
        </pc:spChg>
        <pc:spChg chg="mod">
          <ac:chgData name="이 선혜" userId="4d0ba9da6345bd75" providerId="LiveId" clId="{61D254E1-E8F4-441D-A292-8E09F5AE2868}" dt="2023-07-04T04:36:27.780" v="99"/>
          <ac:spMkLst>
            <pc:docMk/>
            <pc:sldMk cId="1969065447" sldId="8511"/>
            <ac:spMk id="16" creationId="{F0B02C0A-8512-45A9-9049-02EB1269BDF6}"/>
          </ac:spMkLst>
        </pc:spChg>
        <pc:spChg chg="mod">
          <ac:chgData name="이 선혜" userId="4d0ba9da6345bd75" providerId="LiveId" clId="{61D254E1-E8F4-441D-A292-8E09F5AE2868}" dt="2023-07-04T04:36:27.780" v="99"/>
          <ac:spMkLst>
            <pc:docMk/>
            <pc:sldMk cId="1969065447" sldId="8511"/>
            <ac:spMk id="17" creationId="{57E39B2A-5CF7-4674-9EE1-B18E7804048C}"/>
          </ac:spMkLst>
        </pc:spChg>
        <pc:spChg chg="mod">
          <ac:chgData name="이 선혜" userId="4d0ba9da6345bd75" providerId="LiveId" clId="{61D254E1-E8F4-441D-A292-8E09F5AE2868}" dt="2023-07-04T04:36:27.780" v="99"/>
          <ac:spMkLst>
            <pc:docMk/>
            <pc:sldMk cId="1969065447" sldId="8511"/>
            <ac:spMk id="19" creationId="{948ACC67-968C-42B8-A0A3-DDD1B605085A}"/>
          </ac:spMkLst>
        </pc:spChg>
        <pc:spChg chg="mod">
          <ac:chgData name="이 선혜" userId="4d0ba9da6345bd75" providerId="LiveId" clId="{61D254E1-E8F4-441D-A292-8E09F5AE2868}" dt="2023-07-04T04:36:27.780" v="99"/>
          <ac:spMkLst>
            <pc:docMk/>
            <pc:sldMk cId="1969065447" sldId="8511"/>
            <ac:spMk id="20" creationId="{920B3196-9781-4E79-8E61-2A370BC889A7}"/>
          </ac:spMkLst>
        </pc:spChg>
        <pc:spChg chg="add del mod">
          <ac:chgData name="이 선혜" userId="4d0ba9da6345bd75" providerId="LiveId" clId="{61D254E1-E8F4-441D-A292-8E09F5AE2868}" dt="2023-07-04T04:36:29.759" v="100"/>
          <ac:spMkLst>
            <pc:docMk/>
            <pc:sldMk cId="1969065447" sldId="8511"/>
            <ac:spMk id="22" creationId="{4931AE6C-3B82-494E-856F-A41B56BA315E}"/>
          </ac:spMkLst>
        </pc:spChg>
        <pc:spChg chg="add del mod">
          <ac:chgData name="이 선혜" userId="4d0ba9da6345bd75" providerId="LiveId" clId="{61D254E1-E8F4-441D-A292-8E09F5AE2868}" dt="2023-07-04T04:36:29.759" v="100"/>
          <ac:spMkLst>
            <pc:docMk/>
            <pc:sldMk cId="1969065447" sldId="8511"/>
            <ac:spMk id="23" creationId="{387DBED0-58EB-4F34-BF38-6BC1B262334A}"/>
          </ac:spMkLst>
        </pc:spChg>
        <pc:spChg chg="add del mod">
          <ac:chgData name="이 선혜" userId="4d0ba9da6345bd75" providerId="LiveId" clId="{61D254E1-E8F4-441D-A292-8E09F5AE2868}" dt="2023-07-04T04:36:29.759" v="100"/>
          <ac:spMkLst>
            <pc:docMk/>
            <pc:sldMk cId="1969065447" sldId="8511"/>
            <ac:spMk id="33" creationId="{9C8A7D3F-644F-435E-8E50-72FE1112A736}"/>
          </ac:spMkLst>
        </pc:spChg>
        <pc:spChg chg="add del mod">
          <ac:chgData name="이 선혜" userId="4d0ba9da6345bd75" providerId="LiveId" clId="{61D254E1-E8F4-441D-A292-8E09F5AE2868}" dt="2023-07-04T04:36:29.759" v="100"/>
          <ac:spMkLst>
            <pc:docMk/>
            <pc:sldMk cId="1969065447" sldId="8511"/>
            <ac:spMk id="36" creationId="{F41894CE-FD59-49C8-B3F8-09BD93D4AB6B}"/>
          </ac:spMkLst>
        </pc:spChg>
        <pc:spChg chg="add del mod">
          <ac:chgData name="이 선혜" userId="4d0ba9da6345bd75" providerId="LiveId" clId="{61D254E1-E8F4-441D-A292-8E09F5AE2868}" dt="2023-07-04T04:36:29.759" v="100"/>
          <ac:spMkLst>
            <pc:docMk/>
            <pc:sldMk cId="1969065447" sldId="8511"/>
            <ac:spMk id="37" creationId="{FD4BD012-1493-474F-9980-5E5E61B43E96}"/>
          </ac:spMkLst>
        </pc:spChg>
        <pc:grpChg chg="add del mod">
          <ac:chgData name="이 선혜" userId="4d0ba9da6345bd75" providerId="LiveId" clId="{61D254E1-E8F4-441D-A292-8E09F5AE2868}" dt="2023-07-04T04:36:29.759" v="100"/>
          <ac:grpSpMkLst>
            <pc:docMk/>
            <pc:sldMk cId="1969065447" sldId="8511"/>
            <ac:grpSpMk id="12" creationId="{AF064379-C45D-4C20-89B3-985ACA0D2AA3}"/>
          </ac:grpSpMkLst>
        </pc:grpChg>
        <pc:grpChg chg="mod">
          <ac:chgData name="이 선혜" userId="4d0ba9da6345bd75" providerId="LiveId" clId="{61D254E1-E8F4-441D-A292-8E09F5AE2868}" dt="2023-07-04T04:36:27.780" v="99"/>
          <ac:grpSpMkLst>
            <pc:docMk/>
            <pc:sldMk cId="1969065447" sldId="8511"/>
            <ac:grpSpMk id="13" creationId="{739B0B87-05EC-4AB8-BE29-F381CE5CA4F6}"/>
          </ac:grpSpMkLst>
        </pc:grpChg>
        <pc:grpChg chg="mod">
          <ac:chgData name="이 선혜" userId="4d0ba9da6345bd75" providerId="LiveId" clId="{61D254E1-E8F4-441D-A292-8E09F5AE2868}" dt="2023-07-04T04:36:27.780" v="99"/>
          <ac:grpSpMkLst>
            <pc:docMk/>
            <pc:sldMk cId="1969065447" sldId="8511"/>
            <ac:grpSpMk id="15" creationId="{FE37A5B5-F4A2-4BB8-9C2B-F97341E94F13}"/>
          </ac:grpSpMkLst>
        </pc:grpChg>
        <pc:grpChg chg="mod">
          <ac:chgData name="이 선혜" userId="4d0ba9da6345bd75" providerId="LiveId" clId="{61D254E1-E8F4-441D-A292-8E09F5AE2868}" dt="2023-07-04T04:36:27.780" v="99"/>
          <ac:grpSpMkLst>
            <pc:docMk/>
            <pc:sldMk cId="1969065447" sldId="8511"/>
            <ac:grpSpMk id="18" creationId="{7B65940F-217B-4FCD-9D6D-4E002F7B0CC1}"/>
          </ac:grpSpMkLst>
        </pc:grpChg>
        <pc:grpChg chg="add del mod">
          <ac:chgData name="이 선혜" userId="4d0ba9da6345bd75" providerId="LiveId" clId="{61D254E1-E8F4-441D-A292-8E09F5AE2868}" dt="2023-07-04T04:36:29.759" v="100"/>
          <ac:grpSpMkLst>
            <pc:docMk/>
            <pc:sldMk cId="1969065447" sldId="8511"/>
            <ac:grpSpMk id="38" creationId="{74D4EDB2-ADF6-41B7-B0B1-E36FEE5CF69B}"/>
          </ac:grpSpMkLst>
        </pc:grpChg>
        <pc:graphicFrameChg chg="add del mod">
          <ac:chgData name="이 선혜" userId="4d0ba9da6345bd75" providerId="LiveId" clId="{61D254E1-E8F4-441D-A292-8E09F5AE2868}" dt="2023-07-04T04:36:29.759" v="100"/>
          <ac:graphicFrameMkLst>
            <pc:docMk/>
            <pc:sldMk cId="1969065447" sldId="8511"/>
            <ac:graphicFrameMk id="24" creationId="{D1D42B01-40A4-4092-B054-721C269ED051}"/>
          </ac:graphicFrameMkLst>
        </pc:graphicFrameChg>
        <pc:graphicFrameChg chg="add del mod">
          <ac:chgData name="이 선혜" userId="4d0ba9da6345bd75" providerId="LiveId" clId="{61D254E1-E8F4-441D-A292-8E09F5AE2868}" dt="2023-07-04T04:36:29.759" v="100"/>
          <ac:graphicFrameMkLst>
            <pc:docMk/>
            <pc:sldMk cId="1969065447" sldId="8511"/>
            <ac:graphicFrameMk id="34" creationId="{07CDF2B6-C74C-4D32-9C88-D20FE7CE8520}"/>
          </ac:graphicFrameMkLst>
        </pc:graphicFrameChg>
        <pc:graphicFrameChg chg="add del mod">
          <ac:chgData name="이 선혜" userId="4d0ba9da6345bd75" providerId="LiveId" clId="{61D254E1-E8F4-441D-A292-8E09F5AE2868}" dt="2023-07-04T04:36:29.759" v="100"/>
          <ac:graphicFrameMkLst>
            <pc:docMk/>
            <pc:sldMk cId="1969065447" sldId="8511"/>
            <ac:graphicFrameMk id="35" creationId="{6C8450DD-151F-49AC-A5CE-C2DED9D92F8D}"/>
          </ac:graphicFrameMkLst>
        </pc:graphicFrameChg>
        <pc:picChg chg="add mod">
          <ac:chgData name="이 선혜" userId="4d0ba9da6345bd75" providerId="LiveId" clId="{61D254E1-E8F4-441D-A292-8E09F5AE2868}" dt="2023-07-04T04:36:34.008" v="104" actId="1076"/>
          <ac:picMkLst>
            <pc:docMk/>
            <pc:sldMk cId="1969065447" sldId="8511"/>
            <ac:picMk id="3" creationId="{AE7829CD-C57F-4BDC-BC3E-E4334206FC9B}"/>
          </ac:picMkLst>
        </pc:picChg>
        <pc:picChg chg="add del mod">
          <ac:chgData name="이 선혜" userId="4d0ba9da6345bd75" providerId="LiveId" clId="{61D254E1-E8F4-441D-A292-8E09F5AE2868}" dt="2023-07-04T04:36:29.759" v="100"/>
          <ac:picMkLst>
            <pc:docMk/>
            <pc:sldMk cId="1969065447" sldId="8511"/>
            <ac:picMk id="25" creationId="{236933EC-0397-4BEF-9BFB-263BCDCDC523}"/>
          </ac:picMkLst>
        </pc:picChg>
        <pc:picChg chg="add del mod">
          <ac:chgData name="이 선혜" userId="4d0ba9da6345bd75" providerId="LiveId" clId="{61D254E1-E8F4-441D-A292-8E09F5AE2868}" dt="2023-07-04T04:36:29.759" v="100"/>
          <ac:picMkLst>
            <pc:docMk/>
            <pc:sldMk cId="1969065447" sldId="8511"/>
            <ac:picMk id="26" creationId="{53423ADA-E21B-47BE-888C-B653F3E8BAF4}"/>
          </ac:picMkLst>
        </pc:picChg>
        <pc:picChg chg="add del mod">
          <ac:chgData name="이 선혜" userId="4d0ba9da6345bd75" providerId="LiveId" clId="{61D254E1-E8F4-441D-A292-8E09F5AE2868}" dt="2023-07-04T04:36:29.759" v="100"/>
          <ac:picMkLst>
            <pc:docMk/>
            <pc:sldMk cId="1969065447" sldId="8511"/>
            <ac:picMk id="27" creationId="{34C8CA69-011A-4DCE-B93D-243BD6E8E8F0}"/>
          </ac:picMkLst>
        </pc:picChg>
        <pc:picChg chg="add del mod">
          <ac:chgData name="이 선혜" userId="4d0ba9da6345bd75" providerId="LiveId" clId="{61D254E1-E8F4-441D-A292-8E09F5AE2868}" dt="2023-07-04T04:36:29.759" v="100"/>
          <ac:picMkLst>
            <pc:docMk/>
            <pc:sldMk cId="1969065447" sldId="8511"/>
            <ac:picMk id="28" creationId="{F32E2D1F-EDA2-490D-8D94-CF3C3C57FEB5}"/>
          </ac:picMkLst>
        </pc:picChg>
        <pc:picChg chg="add del mod">
          <ac:chgData name="이 선혜" userId="4d0ba9da6345bd75" providerId="LiveId" clId="{61D254E1-E8F4-441D-A292-8E09F5AE2868}" dt="2023-07-04T04:36:29.759" v="100"/>
          <ac:picMkLst>
            <pc:docMk/>
            <pc:sldMk cId="1969065447" sldId="8511"/>
            <ac:picMk id="29" creationId="{FA1DDA73-7958-440B-BE0C-98D3AD8883B3}"/>
          </ac:picMkLst>
        </pc:picChg>
        <pc:picChg chg="add del mod">
          <ac:chgData name="이 선혜" userId="4d0ba9da6345bd75" providerId="LiveId" clId="{61D254E1-E8F4-441D-A292-8E09F5AE2868}" dt="2023-07-04T04:36:29.759" v="100"/>
          <ac:picMkLst>
            <pc:docMk/>
            <pc:sldMk cId="1969065447" sldId="8511"/>
            <ac:picMk id="30" creationId="{70DFD650-38D2-4C82-8178-A959B69493E0}"/>
          </ac:picMkLst>
        </pc:picChg>
        <pc:picChg chg="add del mod">
          <ac:chgData name="이 선혜" userId="4d0ba9da6345bd75" providerId="LiveId" clId="{61D254E1-E8F4-441D-A292-8E09F5AE2868}" dt="2023-07-04T04:36:29.759" v="100"/>
          <ac:picMkLst>
            <pc:docMk/>
            <pc:sldMk cId="1969065447" sldId="8511"/>
            <ac:picMk id="31" creationId="{77A42626-F76E-4312-B18D-775153BABD9A}"/>
          </ac:picMkLst>
        </pc:picChg>
        <pc:picChg chg="add del mod">
          <ac:chgData name="이 선혜" userId="4d0ba9da6345bd75" providerId="LiveId" clId="{61D254E1-E8F4-441D-A292-8E09F5AE2868}" dt="2023-07-04T04:36:29.759" v="100"/>
          <ac:picMkLst>
            <pc:docMk/>
            <pc:sldMk cId="1969065447" sldId="8511"/>
            <ac:picMk id="32" creationId="{8DA267ED-191B-4B41-8E00-7E59C68198BF}"/>
          </ac:picMkLst>
        </pc:picChg>
        <pc:picChg chg="mod">
          <ac:chgData name="이 선혜" userId="4d0ba9da6345bd75" providerId="LiveId" clId="{61D254E1-E8F4-441D-A292-8E09F5AE2868}" dt="2023-07-04T04:36:27.780" v="99"/>
          <ac:picMkLst>
            <pc:docMk/>
            <pc:sldMk cId="1969065447" sldId="8511"/>
            <ac:picMk id="39" creationId="{D3E10A27-13AE-46F4-BB2D-136C9A5C4618}"/>
          </ac:picMkLst>
        </pc:picChg>
        <pc:picChg chg="mod">
          <ac:chgData name="이 선혜" userId="4d0ba9da6345bd75" providerId="LiveId" clId="{61D254E1-E8F4-441D-A292-8E09F5AE2868}" dt="2023-07-04T04:36:27.780" v="99"/>
          <ac:picMkLst>
            <pc:docMk/>
            <pc:sldMk cId="1969065447" sldId="8511"/>
            <ac:picMk id="40" creationId="{A8991F9A-6659-4914-91EF-1B309780B08D}"/>
          </ac:picMkLst>
        </pc:picChg>
        <pc:cxnChg chg="mod">
          <ac:chgData name="이 선혜" userId="4d0ba9da6345bd75" providerId="LiveId" clId="{61D254E1-E8F4-441D-A292-8E09F5AE2868}" dt="2023-07-04T04:36:27.780" v="99"/>
          <ac:cxnSpMkLst>
            <pc:docMk/>
            <pc:sldMk cId="1969065447" sldId="8511"/>
            <ac:cxnSpMk id="21" creationId="{3353E490-E138-4BA3-9566-5E6512F1B7F0}"/>
          </ac:cxnSpMkLst>
        </pc:cxnChg>
      </pc:sldChg>
      <pc:sldChg chg="addSp delSp modSp mod">
        <pc:chgData name="이 선혜" userId="4d0ba9da6345bd75" providerId="LiveId" clId="{61D254E1-E8F4-441D-A292-8E09F5AE2868}" dt="2023-07-04T04:37:14.757" v="249" actId="20577"/>
        <pc:sldMkLst>
          <pc:docMk/>
          <pc:sldMk cId="1449844272" sldId="8512"/>
        </pc:sldMkLst>
        <pc:spChg chg="mod">
          <ac:chgData name="이 선혜" userId="4d0ba9da6345bd75" providerId="LiveId" clId="{61D254E1-E8F4-441D-A292-8E09F5AE2868}" dt="2023-07-04T04:37:14.757" v="249" actId="20577"/>
          <ac:spMkLst>
            <pc:docMk/>
            <pc:sldMk cId="1449844272" sldId="8512"/>
            <ac:spMk id="11" creationId="{6F897E9A-0DDE-43D4-8E8B-6252B527F05E}"/>
          </ac:spMkLst>
        </pc:spChg>
        <pc:spChg chg="mod">
          <ac:chgData name="이 선혜" userId="4d0ba9da6345bd75" providerId="LiveId" clId="{61D254E1-E8F4-441D-A292-8E09F5AE2868}" dt="2023-07-04T04:37:03.701" v="237"/>
          <ac:spMkLst>
            <pc:docMk/>
            <pc:sldMk cId="1449844272" sldId="8512"/>
            <ac:spMk id="14" creationId="{EAF1EA3C-A4D9-45AF-9C10-11B27450CB04}"/>
          </ac:spMkLst>
        </pc:spChg>
        <pc:spChg chg="mod">
          <ac:chgData name="이 선혜" userId="4d0ba9da6345bd75" providerId="LiveId" clId="{61D254E1-E8F4-441D-A292-8E09F5AE2868}" dt="2023-07-04T04:37:03.701" v="237"/>
          <ac:spMkLst>
            <pc:docMk/>
            <pc:sldMk cId="1449844272" sldId="8512"/>
            <ac:spMk id="16" creationId="{6093433E-1E9C-4042-94D8-4C1DEDD4C662}"/>
          </ac:spMkLst>
        </pc:spChg>
        <pc:spChg chg="mod">
          <ac:chgData name="이 선혜" userId="4d0ba9da6345bd75" providerId="LiveId" clId="{61D254E1-E8F4-441D-A292-8E09F5AE2868}" dt="2023-07-04T04:37:03.701" v="237"/>
          <ac:spMkLst>
            <pc:docMk/>
            <pc:sldMk cId="1449844272" sldId="8512"/>
            <ac:spMk id="17" creationId="{6BB288B5-7E23-459B-8DF9-BEADCF25958C}"/>
          </ac:spMkLst>
        </pc:spChg>
        <pc:spChg chg="mod">
          <ac:chgData name="이 선혜" userId="4d0ba9da6345bd75" providerId="LiveId" clId="{61D254E1-E8F4-441D-A292-8E09F5AE2868}" dt="2023-07-04T04:37:03.701" v="237"/>
          <ac:spMkLst>
            <pc:docMk/>
            <pc:sldMk cId="1449844272" sldId="8512"/>
            <ac:spMk id="19" creationId="{99A60B37-2574-4AF9-A2E5-69B69332BD07}"/>
          </ac:spMkLst>
        </pc:spChg>
        <pc:spChg chg="mod">
          <ac:chgData name="이 선혜" userId="4d0ba9da6345bd75" providerId="LiveId" clId="{61D254E1-E8F4-441D-A292-8E09F5AE2868}" dt="2023-07-04T04:37:03.701" v="237"/>
          <ac:spMkLst>
            <pc:docMk/>
            <pc:sldMk cId="1449844272" sldId="8512"/>
            <ac:spMk id="20" creationId="{F8231A35-6539-4A2F-B4B2-2A004F551130}"/>
          </ac:spMkLst>
        </pc:spChg>
        <pc:spChg chg="add del mod">
          <ac:chgData name="이 선혜" userId="4d0ba9da6345bd75" providerId="LiveId" clId="{61D254E1-E8F4-441D-A292-8E09F5AE2868}" dt="2023-07-04T04:37:05.486" v="238"/>
          <ac:spMkLst>
            <pc:docMk/>
            <pc:sldMk cId="1449844272" sldId="8512"/>
            <ac:spMk id="27" creationId="{C85FD145-09F8-4DAA-9A4B-E347F6B423A2}"/>
          </ac:spMkLst>
        </pc:spChg>
        <pc:spChg chg="add del mod">
          <ac:chgData name="이 선혜" userId="4d0ba9da6345bd75" providerId="LiveId" clId="{61D254E1-E8F4-441D-A292-8E09F5AE2868}" dt="2023-07-04T04:37:05.486" v="238"/>
          <ac:spMkLst>
            <pc:docMk/>
            <pc:sldMk cId="1449844272" sldId="8512"/>
            <ac:spMk id="28" creationId="{3398F8A0-C397-4FED-BDB9-A116278D33ED}"/>
          </ac:spMkLst>
        </pc:spChg>
        <pc:spChg chg="add del mod">
          <ac:chgData name="이 선혜" userId="4d0ba9da6345bd75" providerId="LiveId" clId="{61D254E1-E8F4-441D-A292-8E09F5AE2868}" dt="2023-07-04T04:37:05.486" v="238"/>
          <ac:spMkLst>
            <pc:docMk/>
            <pc:sldMk cId="1449844272" sldId="8512"/>
            <ac:spMk id="34" creationId="{EA9BC2C4-B6BD-47A9-B0FA-109507B5566C}"/>
          </ac:spMkLst>
        </pc:spChg>
        <pc:spChg chg="add del mod">
          <ac:chgData name="이 선혜" userId="4d0ba9da6345bd75" providerId="LiveId" clId="{61D254E1-E8F4-441D-A292-8E09F5AE2868}" dt="2023-07-04T04:37:05.486" v="238"/>
          <ac:spMkLst>
            <pc:docMk/>
            <pc:sldMk cId="1449844272" sldId="8512"/>
            <ac:spMk id="35" creationId="{2261F2BE-49FD-4DCD-BD7C-AC393B727756}"/>
          </ac:spMkLst>
        </pc:spChg>
        <pc:spChg chg="add del mod">
          <ac:chgData name="이 선혜" userId="4d0ba9da6345bd75" providerId="LiveId" clId="{61D254E1-E8F4-441D-A292-8E09F5AE2868}" dt="2023-07-04T04:37:05.486" v="238"/>
          <ac:spMkLst>
            <pc:docMk/>
            <pc:sldMk cId="1449844272" sldId="8512"/>
            <ac:spMk id="37" creationId="{3FF95C82-9295-41FD-A042-8CC84B91455A}"/>
          </ac:spMkLst>
        </pc:spChg>
        <pc:grpChg chg="add del mod">
          <ac:chgData name="이 선혜" userId="4d0ba9da6345bd75" providerId="LiveId" clId="{61D254E1-E8F4-441D-A292-8E09F5AE2868}" dt="2023-07-04T04:37:05.486" v="238"/>
          <ac:grpSpMkLst>
            <pc:docMk/>
            <pc:sldMk cId="1449844272" sldId="8512"/>
            <ac:grpSpMk id="12" creationId="{2EC6DC76-5E64-451B-8ABB-C95177ECDDEB}"/>
          </ac:grpSpMkLst>
        </pc:grpChg>
        <pc:grpChg chg="mod">
          <ac:chgData name="이 선혜" userId="4d0ba9da6345bd75" providerId="LiveId" clId="{61D254E1-E8F4-441D-A292-8E09F5AE2868}" dt="2023-07-04T04:37:03.701" v="237"/>
          <ac:grpSpMkLst>
            <pc:docMk/>
            <pc:sldMk cId="1449844272" sldId="8512"/>
            <ac:grpSpMk id="13" creationId="{56BD7873-C5CA-455E-BA06-7ED2CA0D8F91}"/>
          </ac:grpSpMkLst>
        </pc:grpChg>
        <pc:grpChg chg="mod">
          <ac:chgData name="이 선혜" userId="4d0ba9da6345bd75" providerId="LiveId" clId="{61D254E1-E8F4-441D-A292-8E09F5AE2868}" dt="2023-07-04T04:37:03.701" v="237"/>
          <ac:grpSpMkLst>
            <pc:docMk/>
            <pc:sldMk cId="1449844272" sldId="8512"/>
            <ac:grpSpMk id="15" creationId="{26BABEE9-24EE-4BA5-8D80-0CCF1BC7133E}"/>
          </ac:grpSpMkLst>
        </pc:grpChg>
        <pc:grpChg chg="mod">
          <ac:chgData name="이 선혜" userId="4d0ba9da6345bd75" providerId="LiveId" clId="{61D254E1-E8F4-441D-A292-8E09F5AE2868}" dt="2023-07-04T04:37:03.701" v="237"/>
          <ac:grpSpMkLst>
            <pc:docMk/>
            <pc:sldMk cId="1449844272" sldId="8512"/>
            <ac:grpSpMk id="18" creationId="{8DEEBCB6-2CC4-4BB8-B08A-933730D60B27}"/>
          </ac:grpSpMkLst>
        </pc:grpChg>
        <pc:graphicFrameChg chg="add del mod">
          <ac:chgData name="이 선혜" userId="4d0ba9da6345bd75" providerId="LiveId" clId="{61D254E1-E8F4-441D-A292-8E09F5AE2868}" dt="2023-07-04T04:37:05.486" v="238"/>
          <ac:graphicFrameMkLst>
            <pc:docMk/>
            <pc:sldMk cId="1449844272" sldId="8512"/>
            <ac:graphicFrameMk id="22" creationId="{A1744EB7-541E-4FB6-9540-522A3C3547A8}"/>
          </ac:graphicFrameMkLst>
        </pc:graphicFrameChg>
        <pc:graphicFrameChg chg="add del mod">
          <ac:chgData name="이 선혜" userId="4d0ba9da6345bd75" providerId="LiveId" clId="{61D254E1-E8F4-441D-A292-8E09F5AE2868}" dt="2023-07-04T04:37:05.486" v="238"/>
          <ac:graphicFrameMkLst>
            <pc:docMk/>
            <pc:sldMk cId="1449844272" sldId="8512"/>
            <ac:graphicFrameMk id="29" creationId="{E6CBAABF-E5B3-4A9E-B2D2-A6093DA78222}"/>
          </ac:graphicFrameMkLst>
        </pc:graphicFrameChg>
        <pc:graphicFrameChg chg="add del mod">
          <ac:chgData name="이 선혜" userId="4d0ba9da6345bd75" providerId="LiveId" clId="{61D254E1-E8F4-441D-A292-8E09F5AE2868}" dt="2023-07-04T04:37:05.486" v="238"/>
          <ac:graphicFrameMkLst>
            <pc:docMk/>
            <pc:sldMk cId="1449844272" sldId="8512"/>
            <ac:graphicFrameMk id="33" creationId="{11E243BB-0449-4858-A1C4-363A07DCE1EC}"/>
          </ac:graphicFrameMkLst>
        </pc:graphicFrameChg>
        <pc:graphicFrameChg chg="add del mod">
          <ac:chgData name="이 선혜" userId="4d0ba9da6345bd75" providerId="LiveId" clId="{61D254E1-E8F4-441D-A292-8E09F5AE2868}" dt="2023-07-04T04:37:05.486" v="238"/>
          <ac:graphicFrameMkLst>
            <pc:docMk/>
            <pc:sldMk cId="1449844272" sldId="8512"/>
            <ac:graphicFrameMk id="36" creationId="{2D48C436-1011-4AAD-8CE7-0C0297EFF98B}"/>
          </ac:graphicFrameMkLst>
        </pc:graphicFrameChg>
        <pc:graphicFrameChg chg="add del mod">
          <ac:chgData name="이 선혜" userId="4d0ba9da6345bd75" providerId="LiveId" clId="{61D254E1-E8F4-441D-A292-8E09F5AE2868}" dt="2023-07-04T04:37:05.486" v="238"/>
          <ac:graphicFrameMkLst>
            <pc:docMk/>
            <pc:sldMk cId="1449844272" sldId="8512"/>
            <ac:graphicFrameMk id="38" creationId="{93460522-08AE-414F-92A7-D751F50AFBE0}"/>
          </ac:graphicFrameMkLst>
        </pc:graphicFrameChg>
        <pc:picChg chg="add mod">
          <ac:chgData name="이 선혜" userId="4d0ba9da6345bd75" providerId="LiveId" clId="{61D254E1-E8F4-441D-A292-8E09F5AE2868}" dt="2023-07-04T04:37:06.957" v="240" actId="1076"/>
          <ac:picMkLst>
            <pc:docMk/>
            <pc:sldMk cId="1449844272" sldId="8512"/>
            <ac:picMk id="3" creationId="{EE0A8B60-64FE-4B50-9730-A7AD342E2DF2}"/>
          </ac:picMkLst>
        </pc:picChg>
        <pc:picChg chg="add del mod">
          <ac:chgData name="이 선혜" userId="4d0ba9da6345bd75" providerId="LiveId" clId="{61D254E1-E8F4-441D-A292-8E09F5AE2868}" dt="2023-07-04T04:37:05.486" v="238"/>
          <ac:picMkLst>
            <pc:docMk/>
            <pc:sldMk cId="1449844272" sldId="8512"/>
            <ac:picMk id="23" creationId="{6F697F86-A8BA-4BC4-A25F-21A744A9EF9C}"/>
          </ac:picMkLst>
        </pc:picChg>
        <pc:picChg chg="add del mod">
          <ac:chgData name="이 선혜" userId="4d0ba9da6345bd75" providerId="LiveId" clId="{61D254E1-E8F4-441D-A292-8E09F5AE2868}" dt="2023-07-04T04:37:05.486" v="238"/>
          <ac:picMkLst>
            <pc:docMk/>
            <pc:sldMk cId="1449844272" sldId="8512"/>
            <ac:picMk id="24" creationId="{B830B52F-2FC6-4006-AB21-418ADEF45A79}"/>
          </ac:picMkLst>
        </pc:picChg>
        <pc:picChg chg="add del mod">
          <ac:chgData name="이 선혜" userId="4d0ba9da6345bd75" providerId="LiveId" clId="{61D254E1-E8F4-441D-A292-8E09F5AE2868}" dt="2023-07-04T04:37:05.486" v="238"/>
          <ac:picMkLst>
            <pc:docMk/>
            <pc:sldMk cId="1449844272" sldId="8512"/>
            <ac:picMk id="25" creationId="{091F5225-0E86-462A-8450-3BE5E73EB756}"/>
          </ac:picMkLst>
        </pc:picChg>
        <pc:picChg chg="add del mod">
          <ac:chgData name="이 선혜" userId="4d0ba9da6345bd75" providerId="LiveId" clId="{61D254E1-E8F4-441D-A292-8E09F5AE2868}" dt="2023-07-04T04:37:05.486" v="238"/>
          <ac:picMkLst>
            <pc:docMk/>
            <pc:sldMk cId="1449844272" sldId="8512"/>
            <ac:picMk id="26" creationId="{62CAC8AC-4613-4B2B-A84C-B844FF5ED873}"/>
          </ac:picMkLst>
        </pc:picChg>
        <pc:picChg chg="add del mod">
          <ac:chgData name="이 선혜" userId="4d0ba9da6345bd75" providerId="LiveId" clId="{61D254E1-E8F4-441D-A292-8E09F5AE2868}" dt="2023-07-04T04:37:05.486" v="238"/>
          <ac:picMkLst>
            <pc:docMk/>
            <pc:sldMk cId="1449844272" sldId="8512"/>
            <ac:picMk id="30" creationId="{F99D28D7-1BAA-4630-899F-7BC80CB2C871}"/>
          </ac:picMkLst>
        </pc:picChg>
        <pc:picChg chg="add del mod">
          <ac:chgData name="이 선혜" userId="4d0ba9da6345bd75" providerId="LiveId" clId="{61D254E1-E8F4-441D-A292-8E09F5AE2868}" dt="2023-07-04T04:37:05.486" v="238"/>
          <ac:picMkLst>
            <pc:docMk/>
            <pc:sldMk cId="1449844272" sldId="8512"/>
            <ac:picMk id="31" creationId="{A1879835-FC42-415B-9658-8834802C5734}"/>
          </ac:picMkLst>
        </pc:picChg>
        <pc:picChg chg="add del mod">
          <ac:chgData name="이 선혜" userId="4d0ba9da6345bd75" providerId="LiveId" clId="{61D254E1-E8F4-441D-A292-8E09F5AE2868}" dt="2023-07-04T04:37:05.486" v="238"/>
          <ac:picMkLst>
            <pc:docMk/>
            <pc:sldMk cId="1449844272" sldId="8512"/>
            <ac:picMk id="32" creationId="{A9FF0CB7-14CD-4A0F-AACC-497F55E0A08D}"/>
          </ac:picMkLst>
        </pc:picChg>
        <pc:picChg chg="add del mod">
          <ac:chgData name="이 선혜" userId="4d0ba9da6345bd75" providerId="LiveId" clId="{61D254E1-E8F4-441D-A292-8E09F5AE2868}" dt="2023-07-04T04:37:05.486" v="238"/>
          <ac:picMkLst>
            <pc:docMk/>
            <pc:sldMk cId="1449844272" sldId="8512"/>
            <ac:picMk id="39" creationId="{CE7DBFD5-2745-488F-A4E8-E0FCB0CACAB4}"/>
          </ac:picMkLst>
        </pc:picChg>
        <pc:picChg chg="add del mod">
          <ac:chgData name="이 선혜" userId="4d0ba9da6345bd75" providerId="LiveId" clId="{61D254E1-E8F4-441D-A292-8E09F5AE2868}" dt="2023-07-04T04:37:05.486" v="238"/>
          <ac:picMkLst>
            <pc:docMk/>
            <pc:sldMk cId="1449844272" sldId="8512"/>
            <ac:picMk id="40" creationId="{14798337-44D1-4076-991F-E75BDEF6CC5B}"/>
          </ac:picMkLst>
        </pc:picChg>
        <pc:picChg chg="add del mod">
          <ac:chgData name="이 선혜" userId="4d0ba9da6345bd75" providerId="LiveId" clId="{61D254E1-E8F4-441D-A292-8E09F5AE2868}" dt="2023-07-04T04:37:05.486" v="238"/>
          <ac:picMkLst>
            <pc:docMk/>
            <pc:sldMk cId="1449844272" sldId="8512"/>
            <ac:picMk id="41" creationId="{C478754F-3D17-406F-9000-EB84051CE3E1}"/>
          </ac:picMkLst>
        </pc:picChg>
        <pc:picChg chg="add del mod">
          <ac:chgData name="이 선혜" userId="4d0ba9da6345bd75" providerId="LiveId" clId="{61D254E1-E8F4-441D-A292-8E09F5AE2868}" dt="2023-07-04T04:37:05.486" v="238"/>
          <ac:picMkLst>
            <pc:docMk/>
            <pc:sldMk cId="1449844272" sldId="8512"/>
            <ac:picMk id="42" creationId="{CB8333D8-710F-4C64-A4BD-14C30781F4C4}"/>
          </ac:picMkLst>
        </pc:picChg>
        <pc:picChg chg="add del mod">
          <ac:chgData name="이 선혜" userId="4d0ba9da6345bd75" providerId="LiveId" clId="{61D254E1-E8F4-441D-A292-8E09F5AE2868}" dt="2023-07-04T04:37:05.486" v="238"/>
          <ac:picMkLst>
            <pc:docMk/>
            <pc:sldMk cId="1449844272" sldId="8512"/>
            <ac:picMk id="43" creationId="{0AB16A32-13D3-4AFE-942A-64FEB6C1FF4D}"/>
          </ac:picMkLst>
        </pc:picChg>
        <pc:picChg chg="add del mod">
          <ac:chgData name="이 선혜" userId="4d0ba9da6345bd75" providerId="LiveId" clId="{61D254E1-E8F4-441D-A292-8E09F5AE2868}" dt="2023-07-04T04:37:05.486" v="238"/>
          <ac:picMkLst>
            <pc:docMk/>
            <pc:sldMk cId="1449844272" sldId="8512"/>
            <ac:picMk id="44" creationId="{32820369-CFDE-4BE2-BDD3-93AFB0887E7E}"/>
          </ac:picMkLst>
        </pc:picChg>
        <pc:picChg chg="add del mod">
          <ac:chgData name="이 선혜" userId="4d0ba9da6345bd75" providerId="LiveId" clId="{61D254E1-E8F4-441D-A292-8E09F5AE2868}" dt="2023-07-04T04:37:05.486" v="238"/>
          <ac:picMkLst>
            <pc:docMk/>
            <pc:sldMk cId="1449844272" sldId="8512"/>
            <ac:picMk id="45" creationId="{B7328CBD-D832-4345-A479-AEF75FCAC9A0}"/>
          </ac:picMkLst>
        </pc:picChg>
        <pc:picChg chg="add del mod">
          <ac:chgData name="이 선혜" userId="4d0ba9da6345bd75" providerId="LiveId" clId="{61D254E1-E8F4-441D-A292-8E09F5AE2868}" dt="2023-07-04T04:37:05.486" v="238"/>
          <ac:picMkLst>
            <pc:docMk/>
            <pc:sldMk cId="1449844272" sldId="8512"/>
            <ac:picMk id="46" creationId="{062177B7-4D69-406F-B61C-FED083657F95}"/>
          </ac:picMkLst>
        </pc:picChg>
        <pc:cxnChg chg="mod">
          <ac:chgData name="이 선혜" userId="4d0ba9da6345bd75" providerId="LiveId" clId="{61D254E1-E8F4-441D-A292-8E09F5AE2868}" dt="2023-07-04T04:37:03.701" v="237"/>
          <ac:cxnSpMkLst>
            <pc:docMk/>
            <pc:sldMk cId="1449844272" sldId="8512"/>
            <ac:cxnSpMk id="21" creationId="{41F3B38C-AE48-43B7-8407-E905AF5A5243}"/>
          </ac:cxnSpMkLst>
        </pc:cxnChg>
      </pc:sldChg>
      <pc:sldChg chg="addSp delSp modSp mod">
        <pc:chgData name="이 선혜" userId="4d0ba9da6345bd75" providerId="LiveId" clId="{61D254E1-E8F4-441D-A292-8E09F5AE2868}" dt="2023-07-04T04:37:39.254" v="270" actId="20577"/>
        <pc:sldMkLst>
          <pc:docMk/>
          <pc:sldMk cId="1683654206" sldId="8567"/>
        </pc:sldMkLst>
        <pc:spChg chg="mod">
          <ac:chgData name="이 선혜" userId="4d0ba9da6345bd75" providerId="LiveId" clId="{61D254E1-E8F4-441D-A292-8E09F5AE2868}" dt="2023-07-04T04:37:39.254" v="270" actId="20577"/>
          <ac:spMkLst>
            <pc:docMk/>
            <pc:sldMk cId="1683654206" sldId="8567"/>
            <ac:spMk id="11" creationId="{6F897E9A-0DDE-43D4-8E8B-6252B527F05E}"/>
          </ac:spMkLst>
        </pc:spChg>
        <pc:spChg chg="mod">
          <ac:chgData name="이 선혜" userId="4d0ba9da6345bd75" providerId="LiveId" clId="{61D254E1-E8F4-441D-A292-8E09F5AE2868}" dt="2023-07-04T04:37:24.969" v="250"/>
          <ac:spMkLst>
            <pc:docMk/>
            <pc:sldMk cId="1683654206" sldId="8567"/>
            <ac:spMk id="14" creationId="{54B8A05A-568D-4BF1-A060-EF4E08D77419}"/>
          </ac:spMkLst>
        </pc:spChg>
        <pc:spChg chg="mod">
          <ac:chgData name="이 선혜" userId="4d0ba9da6345bd75" providerId="LiveId" clId="{61D254E1-E8F4-441D-A292-8E09F5AE2868}" dt="2023-07-04T04:37:24.969" v="250"/>
          <ac:spMkLst>
            <pc:docMk/>
            <pc:sldMk cId="1683654206" sldId="8567"/>
            <ac:spMk id="16" creationId="{36C23303-FF00-42BD-A9EA-482C6C811B56}"/>
          </ac:spMkLst>
        </pc:spChg>
        <pc:spChg chg="mod">
          <ac:chgData name="이 선혜" userId="4d0ba9da6345bd75" providerId="LiveId" clId="{61D254E1-E8F4-441D-A292-8E09F5AE2868}" dt="2023-07-04T04:37:24.969" v="250"/>
          <ac:spMkLst>
            <pc:docMk/>
            <pc:sldMk cId="1683654206" sldId="8567"/>
            <ac:spMk id="17" creationId="{467D0C70-A5EA-47C4-85E2-5F56A66D9262}"/>
          </ac:spMkLst>
        </pc:spChg>
        <pc:spChg chg="mod">
          <ac:chgData name="이 선혜" userId="4d0ba9da6345bd75" providerId="LiveId" clId="{61D254E1-E8F4-441D-A292-8E09F5AE2868}" dt="2023-07-04T04:37:24.969" v="250"/>
          <ac:spMkLst>
            <pc:docMk/>
            <pc:sldMk cId="1683654206" sldId="8567"/>
            <ac:spMk id="19" creationId="{A6871F88-FC65-4B02-AECE-84F18FA2A903}"/>
          </ac:spMkLst>
        </pc:spChg>
        <pc:spChg chg="mod">
          <ac:chgData name="이 선혜" userId="4d0ba9da6345bd75" providerId="LiveId" clId="{61D254E1-E8F4-441D-A292-8E09F5AE2868}" dt="2023-07-04T04:37:24.969" v="250"/>
          <ac:spMkLst>
            <pc:docMk/>
            <pc:sldMk cId="1683654206" sldId="8567"/>
            <ac:spMk id="20" creationId="{7256E884-C3AC-4F7C-B31E-D029495F898F}"/>
          </ac:spMkLst>
        </pc:spChg>
        <pc:spChg chg="add del mod">
          <ac:chgData name="이 선혜" userId="4d0ba9da6345bd75" providerId="LiveId" clId="{61D254E1-E8F4-441D-A292-8E09F5AE2868}" dt="2023-07-04T04:37:26.823" v="251"/>
          <ac:spMkLst>
            <pc:docMk/>
            <pc:sldMk cId="1683654206" sldId="8567"/>
            <ac:spMk id="22" creationId="{028F52AF-11B3-4FBB-8031-2E1A33881F86}"/>
          </ac:spMkLst>
        </pc:spChg>
        <pc:spChg chg="add del mod">
          <ac:chgData name="이 선혜" userId="4d0ba9da6345bd75" providerId="LiveId" clId="{61D254E1-E8F4-441D-A292-8E09F5AE2868}" dt="2023-07-04T04:37:26.823" v="251"/>
          <ac:spMkLst>
            <pc:docMk/>
            <pc:sldMk cId="1683654206" sldId="8567"/>
            <ac:spMk id="25" creationId="{04419EC0-67FB-4E91-8D74-3547010DD66B}"/>
          </ac:spMkLst>
        </pc:spChg>
        <pc:grpChg chg="add del mod">
          <ac:chgData name="이 선혜" userId="4d0ba9da6345bd75" providerId="LiveId" clId="{61D254E1-E8F4-441D-A292-8E09F5AE2868}" dt="2023-07-04T04:37:26.823" v="251"/>
          <ac:grpSpMkLst>
            <pc:docMk/>
            <pc:sldMk cId="1683654206" sldId="8567"/>
            <ac:grpSpMk id="12" creationId="{690BF8F7-7100-415B-BC72-29FCA6428A99}"/>
          </ac:grpSpMkLst>
        </pc:grpChg>
        <pc:grpChg chg="mod">
          <ac:chgData name="이 선혜" userId="4d0ba9da6345bd75" providerId="LiveId" clId="{61D254E1-E8F4-441D-A292-8E09F5AE2868}" dt="2023-07-04T04:37:24.969" v="250"/>
          <ac:grpSpMkLst>
            <pc:docMk/>
            <pc:sldMk cId="1683654206" sldId="8567"/>
            <ac:grpSpMk id="13" creationId="{D18C6C51-A1F5-4E4C-AD30-1EF53E7FD261}"/>
          </ac:grpSpMkLst>
        </pc:grpChg>
        <pc:grpChg chg="mod">
          <ac:chgData name="이 선혜" userId="4d0ba9da6345bd75" providerId="LiveId" clId="{61D254E1-E8F4-441D-A292-8E09F5AE2868}" dt="2023-07-04T04:37:24.969" v="250"/>
          <ac:grpSpMkLst>
            <pc:docMk/>
            <pc:sldMk cId="1683654206" sldId="8567"/>
            <ac:grpSpMk id="15" creationId="{FA5C7DDB-50D0-40F6-A41E-36042F0B317B}"/>
          </ac:grpSpMkLst>
        </pc:grpChg>
        <pc:grpChg chg="mod">
          <ac:chgData name="이 선혜" userId="4d0ba9da6345bd75" providerId="LiveId" clId="{61D254E1-E8F4-441D-A292-8E09F5AE2868}" dt="2023-07-04T04:37:24.969" v="250"/>
          <ac:grpSpMkLst>
            <pc:docMk/>
            <pc:sldMk cId="1683654206" sldId="8567"/>
            <ac:grpSpMk id="18" creationId="{EAEAB346-1C94-4B7D-A897-7702292508AE}"/>
          </ac:grpSpMkLst>
        </pc:grpChg>
        <pc:graphicFrameChg chg="add del mod">
          <ac:chgData name="이 선혜" userId="4d0ba9da6345bd75" providerId="LiveId" clId="{61D254E1-E8F4-441D-A292-8E09F5AE2868}" dt="2023-07-04T04:37:26.823" v="251"/>
          <ac:graphicFrameMkLst>
            <pc:docMk/>
            <pc:sldMk cId="1683654206" sldId="8567"/>
            <ac:graphicFrameMk id="23" creationId="{77CBDBAF-9F27-4984-8937-3247E4DAA39D}"/>
          </ac:graphicFrameMkLst>
        </pc:graphicFrameChg>
        <pc:graphicFrameChg chg="add del mod">
          <ac:chgData name="이 선혜" userId="4d0ba9da6345bd75" providerId="LiveId" clId="{61D254E1-E8F4-441D-A292-8E09F5AE2868}" dt="2023-07-04T04:37:26.823" v="251"/>
          <ac:graphicFrameMkLst>
            <pc:docMk/>
            <pc:sldMk cId="1683654206" sldId="8567"/>
            <ac:graphicFrameMk id="24" creationId="{FA490046-BE70-4A9D-8CD1-78287FD91BF7}"/>
          </ac:graphicFrameMkLst>
        </pc:graphicFrameChg>
        <pc:picChg chg="add mod">
          <ac:chgData name="이 선혜" userId="4d0ba9da6345bd75" providerId="LiveId" clId="{61D254E1-E8F4-441D-A292-8E09F5AE2868}" dt="2023-07-04T04:37:28.364" v="253" actId="1076"/>
          <ac:picMkLst>
            <pc:docMk/>
            <pc:sldMk cId="1683654206" sldId="8567"/>
            <ac:picMk id="3" creationId="{6BE1F425-62AA-4B50-87D9-126A251097DF}"/>
          </ac:picMkLst>
        </pc:picChg>
        <pc:cxnChg chg="mod">
          <ac:chgData name="이 선혜" userId="4d0ba9da6345bd75" providerId="LiveId" clId="{61D254E1-E8F4-441D-A292-8E09F5AE2868}" dt="2023-07-04T04:37:24.969" v="250"/>
          <ac:cxnSpMkLst>
            <pc:docMk/>
            <pc:sldMk cId="1683654206" sldId="8567"/>
            <ac:cxnSpMk id="21" creationId="{0B6CF605-9890-42C1-B1FD-D5576624A01C}"/>
          </ac:cxnSpMkLst>
        </pc:cxn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F43447B-6D2A-4E87-9776-A45F099068D6}" type="doc">
      <dgm:prSet loTypeId="urn:microsoft.com/office/officeart/2005/8/layout/orgChart1" loCatId="hierarchy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pPr latinLnBrk="1"/>
          <a:endParaRPr lang="ko-KR" altLang="en-US"/>
        </a:p>
      </dgm:t>
    </dgm:pt>
    <dgm:pt modelId="{6DFC5AE2-6E7C-4917-8057-5C74705D9D9D}">
      <dgm:prSet phldrT="[텍스트]" custT="1"/>
      <dgm:spPr/>
      <dgm:t>
        <a:bodyPr spcFirstLastPara="0" vert="horz" wrap="square" lIns="0" tIns="5715" rIns="0" bIns="5715" numCol="1" spcCol="1270" anchor="ctr" anchorCtr="0"/>
        <a:lstStyle/>
        <a:p>
          <a:pPr marL="0" lvl="0" indent="0" algn="ctr" defTabSz="40005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000" b="0" kern="1200" spc="-70" baseline="0">
              <a:latin typeface="나눔고딕" panose="020D0604000000000000" pitchFamily="50" charset="-127"/>
              <a:ea typeface="나눔고딕" panose="020D0604000000000000" pitchFamily="50" charset="-127"/>
              <a:cs typeface="+mn-cs"/>
            </a:rPr>
            <a:t>재홟보조기구</a:t>
          </a:r>
          <a:r>
            <a:rPr lang="en-US" altLang="ko-KR" sz="1000" b="0" kern="1200" spc="-70" baseline="0">
              <a:latin typeface="나눔고딕" panose="020D0604000000000000" pitchFamily="50" charset="-127"/>
              <a:ea typeface="나눔고딕" panose="020D0604000000000000" pitchFamily="50" charset="-127"/>
              <a:cs typeface="+mn-cs"/>
            </a:rPr>
            <a:t> </a:t>
          </a:r>
          <a:r>
            <a:rPr lang="ko-KR" altLang="en-US" sz="1000" b="0" kern="1200" spc="-70" baseline="0">
              <a:latin typeface="나눔고딕" panose="020D0604000000000000" pitchFamily="50" charset="-127"/>
              <a:ea typeface="나눔고딕" panose="020D0604000000000000" pitchFamily="50" charset="-127"/>
              <a:cs typeface="+mn-cs"/>
            </a:rPr>
            <a:t>이용자</a:t>
          </a:r>
          <a:r>
            <a:rPr lang="en-US" altLang="ko-KR" sz="1000" b="0" kern="1200" spc="-70" baseline="0">
              <a:latin typeface="나눔고딕" panose="020D0604000000000000" pitchFamily="50" charset="-127"/>
              <a:ea typeface="나눔고딕" panose="020D0604000000000000" pitchFamily="50" charset="-127"/>
              <a:cs typeface="+mn-cs"/>
            </a:rPr>
            <a:t>  </a:t>
          </a:r>
          <a:r>
            <a:rPr lang="ko-KR" altLang="en-US" sz="1000" b="0" kern="1200" spc="-70" baseline="0">
              <a:latin typeface="나눔고딕" panose="020D0604000000000000" pitchFamily="50" charset="-127"/>
              <a:ea typeface="나눔고딕" panose="020D0604000000000000" pitchFamily="50" charset="-127"/>
              <a:cs typeface="+mn-cs"/>
            </a:rPr>
            <a:t>앱</a:t>
          </a:r>
          <a:endParaRPr lang="ko-KR" altLang="en-US" sz="1000" b="0" kern="1200" spc="-70" baseline="0" dirty="0">
            <a:latin typeface="나눔고딕" panose="020D0604000000000000" pitchFamily="50" charset="-127"/>
            <a:ea typeface="나눔고딕" panose="020D0604000000000000" pitchFamily="50" charset="-127"/>
            <a:cs typeface="+mn-cs"/>
          </a:endParaRPr>
        </a:p>
      </dgm:t>
    </dgm:pt>
    <dgm:pt modelId="{B67A109A-86AA-45A6-A697-C948A8F217F3}" type="sibTrans" cxnId="{1AAD9731-6A32-422F-AC90-35382876C897}">
      <dgm:prSet/>
      <dgm:spPr/>
      <dgm:t>
        <a:bodyPr/>
        <a:lstStyle/>
        <a:p>
          <a:pPr latinLnBrk="1"/>
          <a:endParaRPr lang="ko-KR" altLang="en-US" sz="1000" spc="-70">
            <a:latin typeface="나눔고딕" panose="020D0604000000000000" pitchFamily="50" charset="-127"/>
            <a:ea typeface="나눔고딕" panose="020D0604000000000000" pitchFamily="50" charset="-127"/>
          </a:endParaRPr>
        </a:p>
      </dgm:t>
    </dgm:pt>
    <dgm:pt modelId="{CEA235E7-053B-4B66-A724-AA8AD599C0A7}" type="parTrans" cxnId="{1AAD9731-6A32-422F-AC90-35382876C897}">
      <dgm:prSet/>
      <dgm:spPr/>
      <dgm:t>
        <a:bodyPr/>
        <a:lstStyle/>
        <a:p>
          <a:pPr latinLnBrk="1"/>
          <a:endParaRPr lang="ko-KR" altLang="en-US" sz="1000" spc="-70">
            <a:latin typeface="나눔고딕" panose="020D0604000000000000" pitchFamily="50" charset="-127"/>
            <a:ea typeface="나눔고딕" panose="020D0604000000000000" pitchFamily="50" charset="-127"/>
          </a:endParaRPr>
        </a:p>
      </dgm:t>
    </dgm:pt>
    <dgm:pt modelId="{4B9457D5-645A-4D31-9CED-EE0587DAC6A0}">
      <dgm:prSet phldrT="[텍스트]" custT="1"/>
      <dgm:spPr/>
      <dgm:t>
        <a:bodyPr lIns="0" rIns="0"/>
        <a:lstStyle/>
        <a:p>
          <a:pPr latinLnBrk="1"/>
          <a:r>
            <a:rPr lang="ko-KR" altLang="en-US" sz="1000" b="0" spc="-70" baseline="0">
              <a:latin typeface="나눔고딕" panose="020D0604000000000000" pitchFamily="50" charset="-127"/>
              <a:ea typeface="나눔고딕" panose="020D0604000000000000" pitchFamily="50" charset="-127"/>
            </a:rPr>
            <a:t>홈</a:t>
          </a:r>
          <a:endParaRPr lang="ko-KR" altLang="en-US" sz="1000" b="0" spc="-70" baseline="0" dirty="0">
            <a:latin typeface="나눔고딕" panose="020D0604000000000000" pitchFamily="50" charset="-127"/>
            <a:ea typeface="나눔고딕" panose="020D0604000000000000" pitchFamily="50" charset="-127"/>
          </a:endParaRPr>
        </a:p>
      </dgm:t>
    </dgm:pt>
    <dgm:pt modelId="{B5C4BABD-A014-4CF1-8F84-D170C952F05F}" type="sibTrans" cxnId="{A7B4DE78-A968-46B9-8FCD-AF5412F5D3B1}">
      <dgm:prSet/>
      <dgm:spPr/>
      <dgm:t>
        <a:bodyPr/>
        <a:lstStyle/>
        <a:p>
          <a:pPr latinLnBrk="1"/>
          <a:endParaRPr lang="ko-KR" altLang="en-US" sz="1000" spc="-70">
            <a:latin typeface="나눔고딕" panose="020D0604000000000000" pitchFamily="50" charset="-127"/>
            <a:ea typeface="나눔고딕" panose="020D0604000000000000" pitchFamily="50" charset="-127"/>
          </a:endParaRPr>
        </a:p>
      </dgm:t>
    </dgm:pt>
    <dgm:pt modelId="{3250ED57-B49D-4C76-A87C-64E5219AFA0F}" type="parTrans" cxnId="{A7B4DE78-A968-46B9-8FCD-AF5412F5D3B1}">
      <dgm:prSet/>
      <dgm:spPr/>
      <dgm:t>
        <a:bodyPr/>
        <a:lstStyle/>
        <a:p>
          <a:pPr latinLnBrk="1"/>
          <a:endParaRPr lang="ko-KR" altLang="en-US" sz="1000" spc="-70">
            <a:latin typeface="나눔고딕" panose="020D0604000000000000" pitchFamily="50" charset="-127"/>
            <a:ea typeface="나눔고딕" panose="020D0604000000000000" pitchFamily="50" charset="-127"/>
          </a:endParaRPr>
        </a:p>
      </dgm:t>
    </dgm:pt>
    <dgm:pt modelId="{DD7865B5-20DA-4533-A08A-BD5AB7ED00BF}">
      <dgm:prSet phldrT="[텍스트]" custT="1"/>
      <dgm:spPr/>
      <dgm:t>
        <a:bodyPr spcFirstLastPara="0" vert="horz" wrap="square" lIns="0" tIns="5715" rIns="0" bIns="5715" numCol="1" spcCol="1270" anchor="ctr" anchorCtr="0"/>
        <a:lstStyle/>
        <a:p>
          <a:pPr marL="0" lvl="0" indent="0" algn="ctr" defTabSz="40005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000" b="0" kern="1200" spc="-70" baseline="0">
              <a:latin typeface="나눔고딕" panose="020D0604000000000000" pitchFamily="50" charset="-127"/>
              <a:ea typeface="나눔고딕" panose="020D0604000000000000" pitchFamily="50" charset="-127"/>
              <a:cs typeface="+mn-cs"/>
            </a:rPr>
            <a:t>마이데이터조회</a:t>
          </a:r>
          <a:endParaRPr lang="ko-KR" altLang="en-US" sz="1000" b="0" kern="1200" spc="-70" baseline="0" dirty="0">
            <a:latin typeface="나눔고딕" panose="020D0604000000000000" pitchFamily="50" charset="-127"/>
            <a:ea typeface="나눔고딕" panose="020D0604000000000000" pitchFamily="50" charset="-127"/>
            <a:cs typeface="+mn-cs"/>
          </a:endParaRPr>
        </a:p>
      </dgm:t>
    </dgm:pt>
    <dgm:pt modelId="{17F60272-DBA0-4A4B-B1E6-8CD115C5231A}" type="sibTrans" cxnId="{3C2C0DCF-2BE0-4F59-AFDC-9BB429BABBC4}">
      <dgm:prSet/>
      <dgm:spPr/>
      <dgm:t>
        <a:bodyPr/>
        <a:lstStyle/>
        <a:p>
          <a:pPr latinLnBrk="1"/>
          <a:endParaRPr lang="ko-KR" altLang="en-US" sz="1000"/>
        </a:p>
      </dgm:t>
    </dgm:pt>
    <dgm:pt modelId="{2B65299D-08C3-43EC-90FD-C6BB43083FEB}" type="parTrans" cxnId="{3C2C0DCF-2BE0-4F59-AFDC-9BB429BABBC4}">
      <dgm:prSet/>
      <dgm:spPr/>
      <dgm:t>
        <a:bodyPr/>
        <a:lstStyle/>
        <a:p>
          <a:pPr latinLnBrk="1"/>
          <a:endParaRPr lang="ko-KR" altLang="en-US" sz="1000"/>
        </a:p>
      </dgm:t>
    </dgm:pt>
    <dgm:pt modelId="{38D76C0D-BBF1-4814-9B13-CE727BA3B644}">
      <dgm:prSet phldrT="[텍스트]" custT="1"/>
      <dgm:spPr/>
      <dgm:t>
        <a:bodyPr spcFirstLastPara="0" vert="horz" wrap="square" lIns="0" tIns="5715" rIns="0" bIns="5715" numCol="1" spcCol="1270" anchor="ctr" anchorCtr="0"/>
        <a:lstStyle/>
        <a:p>
          <a:pPr marL="0" lvl="0" indent="0" algn="ctr" defTabSz="40005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000" b="0" kern="1200" spc="-70" baseline="0">
              <a:latin typeface="나눔고딕" panose="020D0604000000000000" pitchFamily="50" charset="-127"/>
              <a:ea typeface="나눔고딕" panose="020D0604000000000000" pitchFamily="50" charset="-127"/>
              <a:cs typeface="+mn-cs"/>
            </a:rPr>
            <a:t>나의 서비스 이력</a:t>
          </a:r>
          <a:endParaRPr lang="ko-KR" altLang="en-US" sz="1000" b="0" kern="1200" spc="-70" baseline="0" dirty="0">
            <a:latin typeface="나눔고딕" panose="020D0604000000000000" pitchFamily="50" charset="-127"/>
            <a:ea typeface="나눔고딕" panose="020D0604000000000000" pitchFamily="50" charset="-127"/>
            <a:cs typeface="+mn-cs"/>
          </a:endParaRPr>
        </a:p>
      </dgm:t>
    </dgm:pt>
    <dgm:pt modelId="{60234E18-12BF-459B-ACA2-D0A353B4AF45}" type="sibTrans" cxnId="{B4B0333C-24DC-49AC-9C1C-B6A156D7577C}">
      <dgm:prSet/>
      <dgm:spPr/>
      <dgm:t>
        <a:bodyPr/>
        <a:lstStyle/>
        <a:p>
          <a:pPr latinLnBrk="1"/>
          <a:endParaRPr lang="ko-KR" altLang="en-US" sz="1000"/>
        </a:p>
      </dgm:t>
    </dgm:pt>
    <dgm:pt modelId="{39511C94-1DF4-45AE-A5D1-7A679E88BD6A}" type="parTrans" cxnId="{B4B0333C-24DC-49AC-9C1C-B6A156D7577C}">
      <dgm:prSet/>
      <dgm:spPr/>
      <dgm:t>
        <a:bodyPr/>
        <a:lstStyle/>
        <a:p>
          <a:pPr latinLnBrk="1"/>
          <a:endParaRPr lang="ko-KR" altLang="en-US" sz="1000"/>
        </a:p>
      </dgm:t>
    </dgm:pt>
    <dgm:pt modelId="{77A7CD76-5F3D-4D92-B8A6-638CCFA4154D}">
      <dgm:prSet phldrT="[텍스트]" custT="1"/>
      <dgm:spPr/>
      <dgm:t>
        <a:bodyPr lIns="0" rIns="0"/>
        <a:lstStyle/>
        <a:p>
          <a:pPr latinLnBrk="1"/>
          <a:r>
            <a:rPr lang="ko-KR" altLang="en-US" sz="1000" b="0" spc="-70" baseline="0">
              <a:latin typeface="나눔고딕" panose="020D0604000000000000" pitchFamily="50" charset="-127"/>
              <a:ea typeface="나눔고딕" panose="020D0604000000000000" pitchFamily="50" charset="-127"/>
            </a:rPr>
            <a:t>맞춤배달</a:t>
          </a:r>
          <a:endParaRPr lang="ko-KR" altLang="en-US" sz="1000" b="0" spc="-70" baseline="0" dirty="0">
            <a:latin typeface="나눔고딕" panose="020D0604000000000000" pitchFamily="50" charset="-127"/>
            <a:ea typeface="나눔고딕" panose="020D0604000000000000" pitchFamily="50" charset="-127"/>
          </a:endParaRPr>
        </a:p>
      </dgm:t>
    </dgm:pt>
    <dgm:pt modelId="{DE4F29FA-05AB-4DC4-9D3C-7DCA9BDDFB87}" type="sibTrans" cxnId="{A4B8993E-1D9E-4AAF-A22E-96308022135A}">
      <dgm:prSet/>
      <dgm:spPr/>
      <dgm:t>
        <a:bodyPr/>
        <a:lstStyle/>
        <a:p>
          <a:pPr latinLnBrk="1"/>
          <a:endParaRPr lang="ko-KR" altLang="en-US" sz="1000"/>
        </a:p>
      </dgm:t>
    </dgm:pt>
    <dgm:pt modelId="{8DC24D90-7552-4B3E-80B7-AEC695C76EA4}" type="parTrans" cxnId="{A4B8993E-1D9E-4AAF-A22E-96308022135A}">
      <dgm:prSet/>
      <dgm:spPr/>
      <dgm:t>
        <a:bodyPr/>
        <a:lstStyle/>
        <a:p>
          <a:pPr latinLnBrk="1"/>
          <a:endParaRPr lang="ko-KR" altLang="en-US" sz="1000"/>
        </a:p>
      </dgm:t>
    </dgm:pt>
    <dgm:pt modelId="{45743D59-2551-4361-8D4C-07FB0C033EEB}">
      <dgm:prSet phldrT="[텍스트]" custT="1"/>
      <dgm:spPr/>
      <dgm:t>
        <a:bodyPr spcFirstLastPara="0" vert="horz" wrap="square" lIns="0" tIns="5715" rIns="0" bIns="5715" numCol="1" spcCol="1270" anchor="ctr" anchorCtr="0"/>
        <a:lstStyle/>
        <a:p>
          <a:pPr marL="0" lvl="0" indent="0" algn="ctr" defTabSz="40005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000" b="0" kern="1200" spc="-70" baseline="0">
              <a:latin typeface="나눔고딕" panose="020D0604000000000000" pitchFamily="50" charset="-127"/>
              <a:ea typeface="나눔고딕" panose="020D0604000000000000" pitchFamily="50" charset="-127"/>
              <a:cs typeface="+mn-cs"/>
            </a:rPr>
            <a:t>영수증 조회</a:t>
          </a:r>
          <a:endParaRPr lang="ko-KR" altLang="en-US" sz="1000" b="0" kern="1200" spc="-70" baseline="0" dirty="0">
            <a:latin typeface="나눔고딕" panose="020D0604000000000000" pitchFamily="50" charset="-127"/>
            <a:ea typeface="나눔고딕" panose="020D0604000000000000" pitchFamily="50" charset="-127"/>
            <a:cs typeface="+mn-cs"/>
          </a:endParaRPr>
        </a:p>
      </dgm:t>
    </dgm:pt>
    <dgm:pt modelId="{BA426354-80F7-4BDE-A2F1-E9DDB31BE505}" type="sibTrans" cxnId="{A8D603DF-F9FB-4836-80F2-9AEBAED012D5}">
      <dgm:prSet/>
      <dgm:spPr/>
      <dgm:t>
        <a:bodyPr/>
        <a:lstStyle/>
        <a:p>
          <a:pPr latinLnBrk="1"/>
          <a:endParaRPr lang="ko-KR" altLang="en-US"/>
        </a:p>
      </dgm:t>
    </dgm:pt>
    <dgm:pt modelId="{4A0E2D23-9485-4F24-BC63-09EA3EF678E4}" type="parTrans" cxnId="{A8D603DF-F9FB-4836-80F2-9AEBAED012D5}">
      <dgm:prSet/>
      <dgm:spPr/>
      <dgm:t>
        <a:bodyPr/>
        <a:lstStyle/>
        <a:p>
          <a:pPr latinLnBrk="1"/>
          <a:endParaRPr lang="ko-KR" altLang="en-US"/>
        </a:p>
      </dgm:t>
    </dgm:pt>
    <dgm:pt modelId="{33FD494B-2DCC-41A6-993A-A9457FB3888A}">
      <dgm:prSet phldrT="[텍스트]" custT="1"/>
      <dgm:spPr/>
      <dgm:t>
        <a:bodyPr lIns="0" rIns="0"/>
        <a:lstStyle/>
        <a:p>
          <a:pPr latinLnBrk="1"/>
          <a:r>
            <a:rPr lang="ko-KR" altLang="en-US" sz="1000" b="0" spc="-70" baseline="0">
              <a:latin typeface="나눔고딕" panose="020D0604000000000000" pitchFamily="50" charset="-127"/>
              <a:ea typeface="나눔고딕" panose="020D0604000000000000" pitchFamily="50" charset="-127"/>
            </a:rPr>
            <a:t>맞춤예약 일정</a:t>
          </a:r>
          <a:endParaRPr lang="ko-KR" altLang="en-US" sz="1000" b="0" spc="-70" baseline="0" dirty="0">
            <a:latin typeface="나눔고딕" panose="020D0604000000000000" pitchFamily="50" charset="-127"/>
            <a:ea typeface="나눔고딕" panose="020D0604000000000000" pitchFamily="50" charset="-127"/>
          </a:endParaRPr>
        </a:p>
      </dgm:t>
    </dgm:pt>
    <dgm:pt modelId="{C3B84D17-2544-4E8C-BD38-5FF60BBA92BF}" type="parTrans" cxnId="{C4FD2DA1-58C1-48C3-A02D-37B022F80CAF}">
      <dgm:prSet/>
      <dgm:spPr/>
      <dgm:t>
        <a:bodyPr/>
        <a:lstStyle/>
        <a:p>
          <a:pPr latinLnBrk="1"/>
          <a:endParaRPr lang="ko-KR" altLang="en-US"/>
        </a:p>
      </dgm:t>
    </dgm:pt>
    <dgm:pt modelId="{5B2DAA86-AB82-45C8-BB10-5EE3466DFBF7}" type="sibTrans" cxnId="{C4FD2DA1-58C1-48C3-A02D-37B022F80CAF}">
      <dgm:prSet/>
      <dgm:spPr/>
      <dgm:t>
        <a:bodyPr/>
        <a:lstStyle/>
        <a:p>
          <a:pPr latinLnBrk="1"/>
          <a:endParaRPr lang="ko-KR" altLang="en-US"/>
        </a:p>
      </dgm:t>
    </dgm:pt>
    <dgm:pt modelId="{D6777E0A-4B00-4391-B9CC-1D598A4344EE}">
      <dgm:prSet phldrT="[텍스트]" custT="1"/>
      <dgm:spPr/>
      <dgm:t>
        <a:bodyPr lIns="0" rIns="0"/>
        <a:lstStyle/>
        <a:p>
          <a:pPr latinLnBrk="1"/>
          <a:r>
            <a:rPr lang="ko-KR" altLang="en-US" sz="1000" b="0" spc="-70" baseline="0">
              <a:latin typeface="나눔고딕" panose="020D0604000000000000" pitchFamily="50" charset="-127"/>
              <a:ea typeface="나눔고딕" panose="020D0604000000000000" pitchFamily="50" charset="-127"/>
            </a:rPr>
            <a:t>스마트예약</a:t>
          </a:r>
          <a:endParaRPr lang="ko-KR" altLang="en-US" sz="1000" b="0" spc="-70" baseline="0" dirty="0">
            <a:latin typeface="나눔고딕" panose="020D0604000000000000" pitchFamily="50" charset="-127"/>
            <a:ea typeface="나눔고딕" panose="020D0604000000000000" pitchFamily="50" charset="-127"/>
          </a:endParaRPr>
        </a:p>
      </dgm:t>
    </dgm:pt>
    <dgm:pt modelId="{44CD108C-88B5-4C4E-9360-317BA0583AD4}" type="parTrans" cxnId="{ECF26801-F8B6-4C60-BD2A-7FCF279BFEE4}">
      <dgm:prSet/>
      <dgm:spPr/>
      <dgm:t>
        <a:bodyPr/>
        <a:lstStyle/>
        <a:p>
          <a:pPr latinLnBrk="1"/>
          <a:endParaRPr lang="ko-KR" altLang="en-US"/>
        </a:p>
      </dgm:t>
    </dgm:pt>
    <dgm:pt modelId="{2EA4F913-ECF2-4F21-942B-A783AAF66741}" type="sibTrans" cxnId="{ECF26801-F8B6-4C60-BD2A-7FCF279BFEE4}">
      <dgm:prSet/>
      <dgm:spPr/>
      <dgm:t>
        <a:bodyPr/>
        <a:lstStyle/>
        <a:p>
          <a:pPr latinLnBrk="1"/>
          <a:endParaRPr lang="ko-KR" altLang="en-US"/>
        </a:p>
      </dgm:t>
    </dgm:pt>
    <dgm:pt modelId="{D9C5A013-84BE-4DD8-AD7A-93BBFBDA0686}">
      <dgm:prSet phldrT="[텍스트]" custT="1"/>
      <dgm:spPr/>
      <dgm:t>
        <a:bodyPr lIns="0" rIns="0"/>
        <a:lstStyle/>
        <a:p>
          <a:pPr latinLnBrk="1"/>
          <a:r>
            <a:rPr lang="ko-KR" altLang="en-US" sz="1000" b="0" spc="-70" baseline="0">
              <a:latin typeface="나눔고딕" panose="020D0604000000000000" pitchFamily="50" charset="-127"/>
              <a:ea typeface="나눔고딕" panose="020D0604000000000000" pitchFamily="50" charset="-127"/>
            </a:rPr>
            <a:t>맞춤예약 이력</a:t>
          </a:r>
          <a:endParaRPr lang="ko-KR" altLang="en-US" sz="1000" b="0" spc="-70" baseline="0" dirty="0">
            <a:latin typeface="나눔고딕" panose="020D0604000000000000" pitchFamily="50" charset="-127"/>
            <a:ea typeface="나눔고딕" panose="020D0604000000000000" pitchFamily="50" charset="-127"/>
          </a:endParaRPr>
        </a:p>
      </dgm:t>
    </dgm:pt>
    <dgm:pt modelId="{216FCFB8-80A1-4CA9-81DA-64B20F1F213A}" type="parTrans" cxnId="{BC02E7D0-AD99-4824-B37A-12CD29137B35}">
      <dgm:prSet/>
      <dgm:spPr/>
      <dgm:t>
        <a:bodyPr/>
        <a:lstStyle/>
        <a:p>
          <a:pPr latinLnBrk="1"/>
          <a:endParaRPr lang="ko-KR" altLang="en-US"/>
        </a:p>
      </dgm:t>
    </dgm:pt>
    <dgm:pt modelId="{8F383DD6-8C76-4CB1-9284-58D89F3BBF44}" type="sibTrans" cxnId="{BC02E7D0-AD99-4824-B37A-12CD29137B35}">
      <dgm:prSet/>
      <dgm:spPr/>
      <dgm:t>
        <a:bodyPr/>
        <a:lstStyle/>
        <a:p>
          <a:pPr latinLnBrk="1"/>
          <a:endParaRPr lang="ko-KR" altLang="en-US"/>
        </a:p>
      </dgm:t>
    </dgm:pt>
    <dgm:pt modelId="{1A3F2F0D-B4EB-468A-B45E-42CC69EF3D47}">
      <dgm:prSet phldrT="[텍스트]" custT="1"/>
      <dgm:spPr/>
      <dgm:t>
        <a:bodyPr lIns="0" rIns="0"/>
        <a:lstStyle/>
        <a:p>
          <a:pPr latinLnBrk="1"/>
          <a:r>
            <a:rPr lang="ko-KR" altLang="en-US" sz="1000" b="0" spc="-70" baseline="0">
              <a:latin typeface="나눔고딕" panose="020D0604000000000000" pitchFamily="50" charset="-127"/>
              <a:ea typeface="나눔고딕" panose="020D0604000000000000" pitchFamily="50" charset="-127"/>
            </a:rPr>
            <a:t>당뇨관리</a:t>
          </a:r>
          <a:endParaRPr lang="ko-KR" altLang="en-US" sz="1000" b="0" spc="-70" baseline="0" dirty="0">
            <a:latin typeface="나눔고딕" panose="020D0604000000000000" pitchFamily="50" charset="-127"/>
            <a:ea typeface="나눔고딕" panose="020D0604000000000000" pitchFamily="50" charset="-127"/>
          </a:endParaRPr>
        </a:p>
      </dgm:t>
    </dgm:pt>
    <dgm:pt modelId="{08BCF85E-9CD4-4FD9-85AE-D73AF32E97E3}" type="parTrans" cxnId="{5BE5982C-117B-4F73-BCD0-BE8ABCD83403}">
      <dgm:prSet/>
      <dgm:spPr/>
      <dgm:t>
        <a:bodyPr/>
        <a:lstStyle/>
        <a:p>
          <a:pPr latinLnBrk="1"/>
          <a:endParaRPr lang="ko-KR" altLang="en-US"/>
        </a:p>
      </dgm:t>
    </dgm:pt>
    <dgm:pt modelId="{1EBB6A86-A8AE-4C62-BDC8-26333A8EAE8F}" type="sibTrans" cxnId="{5BE5982C-117B-4F73-BCD0-BE8ABCD83403}">
      <dgm:prSet/>
      <dgm:spPr/>
      <dgm:t>
        <a:bodyPr/>
        <a:lstStyle/>
        <a:p>
          <a:pPr latinLnBrk="1"/>
          <a:endParaRPr lang="ko-KR" altLang="en-US"/>
        </a:p>
      </dgm:t>
    </dgm:pt>
    <dgm:pt modelId="{085D528F-2329-4808-A58C-6BAB5D271CA3}">
      <dgm:prSet phldrT="[텍스트]" custT="1"/>
      <dgm:spPr/>
      <dgm:t>
        <a:bodyPr lIns="0" rIns="0"/>
        <a:lstStyle/>
        <a:p>
          <a:pPr latinLnBrk="1"/>
          <a:r>
            <a:rPr lang="ko-KR" altLang="en-US" sz="1000" b="0" spc="-70" baseline="0">
              <a:latin typeface="나눔고딕" panose="020D0604000000000000" pitchFamily="50" charset="-127"/>
              <a:ea typeface="나눔고딕" panose="020D0604000000000000" pitchFamily="50" charset="-127"/>
            </a:rPr>
            <a:t>식단</a:t>
          </a:r>
          <a:r>
            <a:rPr lang="en-US" altLang="ko-KR" sz="1000" b="0" spc="-70" baseline="0">
              <a:latin typeface="나눔고딕" panose="020D0604000000000000" pitchFamily="50" charset="-127"/>
              <a:ea typeface="나눔고딕" panose="020D0604000000000000" pitchFamily="50" charset="-127"/>
            </a:rPr>
            <a:t>/</a:t>
          </a:r>
          <a:r>
            <a:rPr lang="ko-KR" altLang="en-US" sz="1000" b="0" spc="-70" baseline="0">
              <a:latin typeface="나눔고딕" panose="020D0604000000000000" pitchFamily="50" charset="-127"/>
              <a:ea typeface="나눔고딕" panose="020D0604000000000000" pitchFamily="50" charset="-127"/>
            </a:rPr>
            <a:t>운동법 컨텐츠 조회</a:t>
          </a:r>
          <a:endParaRPr lang="ko-KR" altLang="en-US" sz="1000" b="0" spc="-70" baseline="0" dirty="0">
            <a:latin typeface="나눔고딕" panose="020D0604000000000000" pitchFamily="50" charset="-127"/>
            <a:ea typeface="나눔고딕" panose="020D0604000000000000" pitchFamily="50" charset="-127"/>
          </a:endParaRPr>
        </a:p>
      </dgm:t>
    </dgm:pt>
    <dgm:pt modelId="{8116A0EB-E7F0-4FC2-BCFD-837F30917FE5}" type="parTrans" cxnId="{0875E815-79F2-4F65-9153-D0C548588FDB}">
      <dgm:prSet/>
      <dgm:spPr/>
      <dgm:t>
        <a:bodyPr/>
        <a:lstStyle/>
        <a:p>
          <a:pPr latinLnBrk="1"/>
          <a:endParaRPr lang="ko-KR" altLang="en-US"/>
        </a:p>
      </dgm:t>
    </dgm:pt>
    <dgm:pt modelId="{D5147D5B-BDC3-4264-9913-0F2409871B87}" type="sibTrans" cxnId="{0875E815-79F2-4F65-9153-D0C548588FDB}">
      <dgm:prSet/>
      <dgm:spPr/>
      <dgm:t>
        <a:bodyPr/>
        <a:lstStyle/>
        <a:p>
          <a:pPr latinLnBrk="1"/>
          <a:endParaRPr lang="ko-KR" altLang="en-US"/>
        </a:p>
      </dgm:t>
    </dgm:pt>
    <dgm:pt modelId="{79F04F0D-ACA8-47A5-A709-C27737166C1A}">
      <dgm:prSet phldrT="[텍스트]" custT="1"/>
      <dgm:spPr/>
      <dgm:t>
        <a:bodyPr lIns="0" rIns="0"/>
        <a:lstStyle/>
        <a:p>
          <a:pPr latinLnBrk="1"/>
          <a:r>
            <a:rPr lang="ko-KR" altLang="en-US" sz="1000" b="0" spc="-70" baseline="0">
              <a:latin typeface="나눔고딕" panose="020D0604000000000000" pitchFamily="50" charset="-127"/>
              <a:ea typeface="나눔고딕" panose="020D0604000000000000" pitchFamily="50" charset="-127"/>
            </a:rPr>
            <a:t>혈당측정 입력</a:t>
          </a:r>
          <a:endParaRPr lang="ko-KR" altLang="en-US" sz="1000" b="0" spc="-70" baseline="0" dirty="0">
            <a:latin typeface="나눔고딕" panose="020D0604000000000000" pitchFamily="50" charset="-127"/>
            <a:ea typeface="나눔고딕" panose="020D0604000000000000" pitchFamily="50" charset="-127"/>
          </a:endParaRPr>
        </a:p>
      </dgm:t>
    </dgm:pt>
    <dgm:pt modelId="{3FAF8054-E587-4EC0-B397-59640782D99A}" type="parTrans" cxnId="{FAB3046D-F9E6-443F-AE23-F73A021839DB}">
      <dgm:prSet/>
      <dgm:spPr/>
      <dgm:t>
        <a:bodyPr/>
        <a:lstStyle/>
        <a:p>
          <a:pPr latinLnBrk="1"/>
          <a:endParaRPr lang="ko-KR" altLang="en-US"/>
        </a:p>
      </dgm:t>
    </dgm:pt>
    <dgm:pt modelId="{F0470309-EC9A-4D70-BDAC-50B55599BB75}" type="sibTrans" cxnId="{FAB3046D-F9E6-443F-AE23-F73A021839DB}">
      <dgm:prSet/>
      <dgm:spPr/>
      <dgm:t>
        <a:bodyPr/>
        <a:lstStyle/>
        <a:p>
          <a:pPr latinLnBrk="1"/>
          <a:endParaRPr lang="ko-KR" altLang="en-US"/>
        </a:p>
      </dgm:t>
    </dgm:pt>
    <dgm:pt modelId="{2C0B4ECC-4BFC-4179-99DB-A697C1C4FE66}">
      <dgm:prSet phldrT="[텍스트]" custT="1"/>
      <dgm:spPr/>
      <dgm:t>
        <a:bodyPr lIns="0" rIns="0"/>
        <a:lstStyle/>
        <a:p>
          <a:pPr latinLnBrk="1"/>
          <a:r>
            <a:rPr lang="ko-KR" altLang="en-US" sz="1000" b="0" spc="-70" baseline="0">
              <a:latin typeface="나눔고딕" panose="020D0604000000000000" pitchFamily="50" charset="-127"/>
              <a:ea typeface="나눔고딕" panose="020D0604000000000000" pitchFamily="50" charset="-127"/>
            </a:rPr>
            <a:t>방문점검</a:t>
          </a:r>
          <a:endParaRPr lang="ko-KR" altLang="en-US" sz="1000" b="0" spc="-70" baseline="0" dirty="0">
            <a:latin typeface="나눔고딕" panose="020D0604000000000000" pitchFamily="50" charset="-127"/>
            <a:ea typeface="나눔고딕" panose="020D0604000000000000" pitchFamily="50" charset="-127"/>
          </a:endParaRPr>
        </a:p>
      </dgm:t>
    </dgm:pt>
    <dgm:pt modelId="{CE2908F8-3570-41E8-BC40-3330F0E9DD41}" type="parTrans" cxnId="{8B7C4CAE-D814-4213-B9E5-2DFD8897B65D}">
      <dgm:prSet/>
      <dgm:spPr/>
      <dgm:t>
        <a:bodyPr/>
        <a:lstStyle/>
        <a:p>
          <a:pPr latinLnBrk="1"/>
          <a:endParaRPr lang="ko-KR" altLang="en-US"/>
        </a:p>
      </dgm:t>
    </dgm:pt>
    <dgm:pt modelId="{C9547DC9-2EE3-4BC6-854E-500DE12A897F}" type="sibTrans" cxnId="{8B7C4CAE-D814-4213-B9E5-2DFD8897B65D}">
      <dgm:prSet/>
      <dgm:spPr/>
      <dgm:t>
        <a:bodyPr/>
        <a:lstStyle/>
        <a:p>
          <a:pPr latinLnBrk="1"/>
          <a:endParaRPr lang="ko-KR" altLang="en-US"/>
        </a:p>
      </dgm:t>
    </dgm:pt>
    <dgm:pt modelId="{616219AB-E0E2-4CDA-B08C-9107B71FF357}">
      <dgm:prSet phldrT="[텍스트]" custT="1"/>
      <dgm:spPr/>
      <dgm:t>
        <a:bodyPr lIns="0" rIns="0"/>
        <a:lstStyle/>
        <a:p>
          <a:pPr latinLnBrk="1"/>
          <a:r>
            <a:rPr lang="ko-KR" altLang="en-US" sz="1000" b="0" spc="-70" baseline="0">
              <a:latin typeface="나눔고딕" panose="020D0604000000000000" pitchFamily="50" charset="-127"/>
              <a:ea typeface="나눔고딕" panose="020D0604000000000000" pitchFamily="50" charset="-127"/>
            </a:rPr>
            <a:t>맞춤배달 일정</a:t>
          </a:r>
          <a:endParaRPr lang="ko-KR" altLang="en-US" sz="1000" b="0" spc="-70" baseline="0" dirty="0">
            <a:latin typeface="나눔고딕" panose="020D0604000000000000" pitchFamily="50" charset="-127"/>
            <a:ea typeface="나눔고딕" panose="020D0604000000000000" pitchFamily="50" charset="-127"/>
          </a:endParaRPr>
        </a:p>
      </dgm:t>
    </dgm:pt>
    <dgm:pt modelId="{BD9EA7ED-9A15-4511-979D-AC5DEEA1CD06}" type="parTrans" cxnId="{C2FCBD4A-56BA-4C88-82BB-FC6EF5173C44}">
      <dgm:prSet/>
      <dgm:spPr/>
      <dgm:t>
        <a:bodyPr/>
        <a:lstStyle/>
        <a:p>
          <a:pPr latinLnBrk="1"/>
          <a:endParaRPr lang="ko-KR" altLang="en-US"/>
        </a:p>
      </dgm:t>
    </dgm:pt>
    <dgm:pt modelId="{A155047B-296C-4CC5-9E4A-608F01774281}" type="sibTrans" cxnId="{C2FCBD4A-56BA-4C88-82BB-FC6EF5173C44}">
      <dgm:prSet/>
      <dgm:spPr/>
      <dgm:t>
        <a:bodyPr/>
        <a:lstStyle/>
        <a:p>
          <a:pPr latinLnBrk="1"/>
          <a:endParaRPr lang="ko-KR" altLang="en-US"/>
        </a:p>
      </dgm:t>
    </dgm:pt>
    <dgm:pt modelId="{831EB9B5-1746-4E48-9CDE-4A2603D28CA7}">
      <dgm:prSet phldrT="[텍스트]" custT="1"/>
      <dgm:spPr>
        <a:solidFill>
          <a:srgbClr val="4472C4">
            <a:hueOff val="0"/>
            <a:satOff val="0"/>
            <a:lumOff val="0"/>
            <a:alphaOff val="0"/>
          </a:srgbClr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gm:spPr>
      <dgm:t>
        <a:bodyPr spcFirstLastPara="0" vert="horz" wrap="square" lIns="0" tIns="6350" rIns="0" bIns="6350" numCol="1" spcCol="1270" anchor="ctr" anchorCtr="0"/>
        <a:lstStyle/>
        <a:p>
          <a:pPr marL="0" lvl="0" indent="0" algn="ctr" defTabSz="44450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000" b="0" kern="1200" spc="-70" baseline="0">
              <a:solidFill>
                <a:prstClr val="white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+mn-cs"/>
            </a:rPr>
            <a:t>맞춤배달 이력</a:t>
          </a:r>
          <a:endParaRPr lang="ko-KR" altLang="en-US" sz="1000" b="0" kern="1200" spc="-70" baseline="0" dirty="0">
            <a:solidFill>
              <a:prstClr val="white"/>
            </a:solidFill>
            <a:latin typeface="나눔고딕" panose="020D0604000000000000" pitchFamily="50" charset="-127"/>
            <a:ea typeface="나눔고딕" panose="020D0604000000000000" pitchFamily="50" charset="-127"/>
            <a:cs typeface="+mn-cs"/>
          </a:endParaRPr>
        </a:p>
      </dgm:t>
    </dgm:pt>
    <dgm:pt modelId="{B853E9AB-0C4F-491F-BB69-017ABCF6B6C8}" type="parTrans" cxnId="{E0AD3D97-65DD-4FF7-9BD7-F8C9E758A118}">
      <dgm:prSet/>
      <dgm:spPr/>
      <dgm:t>
        <a:bodyPr/>
        <a:lstStyle/>
        <a:p>
          <a:pPr latinLnBrk="1"/>
          <a:endParaRPr lang="ko-KR" altLang="en-US"/>
        </a:p>
      </dgm:t>
    </dgm:pt>
    <dgm:pt modelId="{4360FDAA-9951-4EF6-9836-614021BE4ECF}" type="sibTrans" cxnId="{E0AD3D97-65DD-4FF7-9BD7-F8C9E758A118}">
      <dgm:prSet/>
      <dgm:spPr/>
      <dgm:t>
        <a:bodyPr/>
        <a:lstStyle/>
        <a:p>
          <a:pPr latinLnBrk="1"/>
          <a:endParaRPr lang="ko-KR" altLang="en-US"/>
        </a:p>
      </dgm:t>
    </dgm:pt>
    <dgm:pt modelId="{1E6F696F-D568-45E3-8864-CA1884A80FC1}">
      <dgm:prSet phldrT="[텍스트]" custT="1"/>
      <dgm:spPr/>
      <dgm:t>
        <a:bodyPr spcFirstLastPara="0" vert="horz" wrap="square" lIns="0" tIns="5715" rIns="0" bIns="5715" numCol="1" spcCol="1270" anchor="ctr" anchorCtr="0"/>
        <a:lstStyle/>
        <a:p>
          <a:pPr marL="0" lvl="0" indent="0" algn="ctr" defTabSz="40005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000" b="0" kern="1200" spc="-70" baseline="0">
              <a:latin typeface="나눔고딕" panose="020D0604000000000000" pitchFamily="50" charset="-127"/>
              <a:ea typeface="나눔고딕" panose="020D0604000000000000" pitchFamily="50" charset="-127"/>
            </a:rPr>
            <a:t>리워드 포인트 조회</a:t>
          </a:r>
          <a:endParaRPr lang="ko-KR" altLang="en-US" sz="1000" b="0" kern="1200" spc="-70" baseline="0" dirty="0">
            <a:latin typeface="나눔고딕" panose="020D0604000000000000" pitchFamily="50" charset="-127"/>
            <a:ea typeface="나눔고딕" panose="020D0604000000000000" pitchFamily="50" charset="-127"/>
            <a:cs typeface="+mn-cs"/>
          </a:endParaRPr>
        </a:p>
      </dgm:t>
    </dgm:pt>
    <dgm:pt modelId="{38B38290-78F3-4C26-904D-CF9A72E8B4A5}" type="parTrans" cxnId="{3BF0BFD3-2F54-40D2-AD2F-22B76EF66DEA}">
      <dgm:prSet/>
      <dgm:spPr/>
      <dgm:t>
        <a:bodyPr/>
        <a:lstStyle/>
        <a:p>
          <a:pPr latinLnBrk="1"/>
          <a:endParaRPr lang="ko-KR" altLang="en-US"/>
        </a:p>
      </dgm:t>
    </dgm:pt>
    <dgm:pt modelId="{0623A7B5-BEAA-43A9-9F7C-BECB283710C0}" type="sibTrans" cxnId="{3BF0BFD3-2F54-40D2-AD2F-22B76EF66DEA}">
      <dgm:prSet/>
      <dgm:spPr/>
      <dgm:t>
        <a:bodyPr/>
        <a:lstStyle/>
        <a:p>
          <a:pPr latinLnBrk="1"/>
          <a:endParaRPr lang="ko-KR" altLang="en-US"/>
        </a:p>
      </dgm:t>
    </dgm:pt>
    <dgm:pt modelId="{C815A540-13E4-40BD-BAC9-82A9AB1F31B2}">
      <dgm:prSet phldrT="[텍스트]" custT="1"/>
      <dgm:spPr/>
      <dgm:t>
        <a:bodyPr lIns="0" rIns="0"/>
        <a:lstStyle/>
        <a:p>
          <a:pPr latinLnBrk="1"/>
          <a:r>
            <a:rPr lang="ko-KR" altLang="en-US" sz="1000" b="0" spc="-70" baseline="0">
              <a:latin typeface="나눔고딕" panose="020D0604000000000000" pitchFamily="50" charset="-127"/>
              <a:ea typeface="나눔고딕" panose="020D0604000000000000" pitchFamily="50" charset="-127"/>
            </a:rPr>
            <a:t>홈</a:t>
          </a:r>
          <a:endParaRPr lang="ko-KR" altLang="en-US" sz="1000" b="0" spc="-70" baseline="0" dirty="0">
            <a:latin typeface="나눔고딕" panose="020D0604000000000000" pitchFamily="50" charset="-127"/>
            <a:ea typeface="나눔고딕" panose="020D0604000000000000" pitchFamily="50" charset="-127"/>
          </a:endParaRPr>
        </a:p>
      </dgm:t>
    </dgm:pt>
    <dgm:pt modelId="{49E736A4-EE09-4020-8E56-985D249B1C83}" type="parTrans" cxnId="{96A4D904-4ABC-4749-84A0-E4D968F6F273}">
      <dgm:prSet/>
      <dgm:spPr/>
      <dgm:t>
        <a:bodyPr/>
        <a:lstStyle/>
        <a:p>
          <a:pPr latinLnBrk="1"/>
          <a:endParaRPr lang="ko-KR" altLang="en-US"/>
        </a:p>
      </dgm:t>
    </dgm:pt>
    <dgm:pt modelId="{BCECBDC1-4F43-4CFD-9A82-AED63B1D76D2}" type="sibTrans" cxnId="{96A4D904-4ABC-4749-84A0-E4D968F6F273}">
      <dgm:prSet/>
      <dgm:spPr/>
      <dgm:t>
        <a:bodyPr/>
        <a:lstStyle/>
        <a:p>
          <a:pPr latinLnBrk="1"/>
          <a:endParaRPr lang="ko-KR" altLang="en-US"/>
        </a:p>
      </dgm:t>
    </dgm:pt>
    <dgm:pt modelId="{6BB1E951-30F9-4EAA-BF09-2B25774B896A}">
      <dgm:prSet phldrT="[텍스트]" custT="1"/>
      <dgm:spPr/>
      <dgm:t>
        <a:bodyPr spcFirstLastPara="0" vert="horz" wrap="square" lIns="0" tIns="5715" rIns="0" bIns="5715" numCol="1" spcCol="1270" anchor="ctr" anchorCtr="0"/>
        <a:lstStyle/>
        <a:p>
          <a:pPr marL="0" lvl="0" indent="0" algn="ctr" defTabSz="40005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000" b="0" kern="1200" spc="-70" baseline="0">
              <a:latin typeface="나눔고딕" panose="020D0604000000000000" pitchFamily="50" charset="-127"/>
              <a:ea typeface="나눔고딕" panose="020D0604000000000000" pitchFamily="50" charset="-127"/>
              <a:cs typeface="+mn-cs"/>
            </a:rPr>
            <a:t>마이데이터</a:t>
          </a:r>
          <a:endParaRPr lang="ko-KR" altLang="en-US" sz="1000" b="0" kern="1200" spc="-70" baseline="0" dirty="0">
            <a:latin typeface="나눔고딕" panose="020D0604000000000000" pitchFamily="50" charset="-127"/>
            <a:ea typeface="나눔고딕" panose="020D0604000000000000" pitchFamily="50" charset="-127"/>
            <a:cs typeface="+mn-cs"/>
          </a:endParaRPr>
        </a:p>
      </dgm:t>
    </dgm:pt>
    <dgm:pt modelId="{EDEA2C56-A004-4AF8-AA88-088BBFF12AAA}" type="parTrans" cxnId="{540FDF1C-9CB2-4DE6-AC2D-870ADB881B04}">
      <dgm:prSet/>
      <dgm:spPr/>
      <dgm:t>
        <a:bodyPr/>
        <a:lstStyle/>
        <a:p>
          <a:pPr latinLnBrk="1"/>
          <a:endParaRPr lang="ko-KR" altLang="en-US"/>
        </a:p>
      </dgm:t>
    </dgm:pt>
    <dgm:pt modelId="{B3922A2B-E32B-4654-A333-DEE25C16D8DC}" type="sibTrans" cxnId="{540FDF1C-9CB2-4DE6-AC2D-870ADB881B04}">
      <dgm:prSet/>
      <dgm:spPr/>
      <dgm:t>
        <a:bodyPr/>
        <a:lstStyle/>
        <a:p>
          <a:pPr latinLnBrk="1"/>
          <a:endParaRPr lang="ko-KR" altLang="en-US"/>
        </a:p>
      </dgm:t>
    </dgm:pt>
    <dgm:pt modelId="{931AB28D-3BA4-4B34-BA16-23DEAC2242FB}">
      <dgm:prSet phldrT="[텍스트]" custT="1"/>
      <dgm:spPr/>
      <dgm:t>
        <a:bodyPr lIns="0" rIns="0"/>
        <a:lstStyle/>
        <a:p>
          <a:pPr latinLnBrk="1"/>
          <a:r>
            <a:rPr lang="ko-KR" altLang="en-US" sz="1000" b="0" spc="-70" baseline="0">
              <a:latin typeface="나눔고딕" panose="020D0604000000000000" pitchFamily="50" charset="-127"/>
              <a:ea typeface="나눔고딕" panose="020D0604000000000000" pitchFamily="50" charset="-127"/>
            </a:rPr>
            <a:t>방문점검 일정</a:t>
          </a:r>
          <a:endParaRPr lang="ko-KR" altLang="en-US" sz="1000" b="0" spc="-70" baseline="0" dirty="0">
            <a:latin typeface="나눔고딕" panose="020D0604000000000000" pitchFamily="50" charset="-127"/>
            <a:ea typeface="나눔고딕" panose="020D0604000000000000" pitchFamily="50" charset="-127"/>
          </a:endParaRPr>
        </a:p>
      </dgm:t>
    </dgm:pt>
    <dgm:pt modelId="{AC404A0B-FE27-4F3B-BA46-ADEFBDEF0C51}" type="parTrans" cxnId="{6C7E7FB8-DC36-4511-B286-4CBC5733254D}">
      <dgm:prSet/>
      <dgm:spPr/>
      <dgm:t>
        <a:bodyPr/>
        <a:lstStyle/>
        <a:p>
          <a:pPr latinLnBrk="1"/>
          <a:endParaRPr lang="ko-KR" altLang="en-US"/>
        </a:p>
      </dgm:t>
    </dgm:pt>
    <dgm:pt modelId="{6B488479-FF2E-4C35-8339-EEC7D2B90394}" type="sibTrans" cxnId="{6C7E7FB8-DC36-4511-B286-4CBC5733254D}">
      <dgm:prSet/>
      <dgm:spPr/>
      <dgm:t>
        <a:bodyPr/>
        <a:lstStyle/>
        <a:p>
          <a:pPr latinLnBrk="1"/>
          <a:endParaRPr lang="ko-KR" altLang="en-US"/>
        </a:p>
      </dgm:t>
    </dgm:pt>
    <dgm:pt modelId="{B1FC590D-0C96-4B39-9988-056B1B0EDA16}">
      <dgm:prSet phldrT="[텍스트]" custT="1"/>
      <dgm:spPr/>
      <dgm:t>
        <a:bodyPr lIns="0" rIns="0"/>
        <a:lstStyle/>
        <a:p>
          <a:pPr latinLnBrk="1"/>
          <a:r>
            <a:rPr lang="ko-KR" altLang="en-US" sz="1000" b="0" spc="-70" baseline="0">
              <a:latin typeface="나눔고딕" panose="020D0604000000000000" pitchFamily="50" charset="-127"/>
              <a:ea typeface="나눔고딕" panose="020D0604000000000000" pitchFamily="50" charset="-127"/>
            </a:rPr>
            <a:t>방문점검 이력</a:t>
          </a:r>
          <a:endParaRPr lang="ko-KR" altLang="en-US" sz="1000" b="0" spc="-70" baseline="0" dirty="0">
            <a:latin typeface="나눔고딕" panose="020D0604000000000000" pitchFamily="50" charset="-127"/>
            <a:ea typeface="나눔고딕" panose="020D0604000000000000" pitchFamily="50" charset="-127"/>
          </a:endParaRPr>
        </a:p>
      </dgm:t>
    </dgm:pt>
    <dgm:pt modelId="{C9E814BE-0805-4D90-B852-BABF1D620F83}" type="parTrans" cxnId="{3650EBF8-9305-40B9-BC4C-88BC44326991}">
      <dgm:prSet/>
      <dgm:spPr/>
      <dgm:t>
        <a:bodyPr/>
        <a:lstStyle/>
        <a:p>
          <a:pPr latinLnBrk="1"/>
          <a:endParaRPr lang="ko-KR" altLang="en-US"/>
        </a:p>
      </dgm:t>
    </dgm:pt>
    <dgm:pt modelId="{D717008E-6DEF-4297-BBC3-CC861C98574F}" type="sibTrans" cxnId="{3650EBF8-9305-40B9-BC4C-88BC44326991}">
      <dgm:prSet/>
      <dgm:spPr/>
      <dgm:t>
        <a:bodyPr/>
        <a:lstStyle/>
        <a:p>
          <a:pPr latinLnBrk="1"/>
          <a:endParaRPr lang="ko-KR" altLang="en-US"/>
        </a:p>
      </dgm:t>
    </dgm:pt>
    <dgm:pt modelId="{ECB17B0B-D920-43D6-B1A7-3190DC484434}">
      <dgm:prSet phldrT="[텍스트]" custT="1"/>
      <dgm:spPr/>
      <dgm:t>
        <a:bodyPr lIns="0" rIns="0"/>
        <a:lstStyle/>
        <a:p>
          <a:pPr latinLnBrk="1"/>
          <a:r>
            <a:rPr lang="ko-KR" altLang="en-US" sz="1000" b="0" spc="-70" baseline="0">
              <a:latin typeface="나눔고딕" panose="020D0604000000000000" pitchFamily="50" charset="-127"/>
              <a:ea typeface="나눔고딕" panose="020D0604000000000000" pitchFamily="50" charset="-127"/>
            </a:rPr>
            <a:t>마이페이지</a:t>
          </a:r>
          <a:endParaRPr lang="ko-KR" altLang="en-US" sz="1000" b="0" spc="-70" baseline="0" dirty="0">
            <a:latin typeface="나눔고딕" panose="020D0604000000000000" pitchFamily="50" charset="-127"/>
            <a:ea typeface="나눔고딕" panose="020D0604000000000000" pitchFamily="50" charset="-127"/>
          </a:endParaRPr>
        </a:p>
      </dgm:t>
    </dgm:pt>
    <dgm:pt modelId="{1416C8C4-3451-47B9-9D88-C0DF2E46CB97}" type="parTrans" cxnId="{0DF46F30-1C2F-493B-A8D3-78E12FC86587}">
      <dgm:prSet/>
      <dgm:spPr/>
      <dgm:t>
        <a:bodyPr/>
        <a:lstStyle/>
        <a:p>
          <a:pPr latinLnBrk="1"/>
          <a:endParaRPr lang="ko-KR" altLang="en-US"/>
        </a:p>
      </dgm:t>
    </dgm:pt>
    <dgm:pt modelId="{50E00778-3A0E-445D-B6F4-6FE7E1953F4E}" type="sibTrans" cxnId="{0DF46F30-1C2F-493B-A8D3-78E12FC86587}">
      <dgm:prSet/>
      <dgm:spPr/>
      <dgm:t>
        <a:bodyPr/>
        <a:lstStyle/>
        <a:p>
          <a:pPr latinLnBrk="1"/>
          <a:endParaRPr lang="ko-KR" altLang="en-US"/>
        </a:p>
      </dgm:t>
    </dgm:pt>
    <dgm:pt modelId="{132B66C8-BB57-42C5-8754-325880351D47}">
      <dgm:prSet phldrT="[텍스트]" custT="1"/>
      <dgm:spPr/>
      <dgm:t>
        <a:bodyPr lIns="0" rIns="0"/>
        <a:lstStyle/>
        <a:p>
          <a:pPr latinLnBrk="1"/>
          <a:r>
            <a:rPr lang="ko-KR" altLang="en-US" sz="1000" b="0" spc="-70" baseline="0">
              <a:latin typeface="나눔고딕" panose="020D0604000000000000" pitchFamily="50" charset="-127"/>
              <a:ea typeface="나눔고딕" panose="020D0604000000000000" pitchFamily="50" charset="-127"/>
            </a:rPr>
            <a:t>개인정보관리</a:t>
          </a:r>
          <a:endParaRPr lang="ko-KR" altLang="en-US" sz="1000" b="0" spc="-70" baseline="0" dirty="0">
            <a:latin typeface="나눔고딕" panose="020D0604000000000000" pitchFamily="50" charset="-127"/>
            <a:ea typeface="나눔고딕" panose="020D0604000000000000" pitchFamily="50" charset="-127"/>
          </a:endParaRPr>
        </a:p>
      </dgm:t>
    </dgm:pt>
    <dgm:pt modelId="{3FE7F073-D702-4DBF-99FD-8E2FDB39115E}" type="parTrans" cxnId="{CDFD96DF-060C-4516-8A8F-4AB34826F24C}">
      <dgm:prSet/>
      <dgm:spPr/>
      <dgm:t>
        <a:bodyPr/>
        <a:lstStyle/>
        <a:p>
          <a:pPr latinLnBrk="1"/>
          <a:endParaRPr lang="ko-KR" altLang="en-US"/>
        </a:p>
      </dgm:t>
    </dgm:pt>
    <dgm:pt modelId="{1B61FE96-FF9A-4569-9578-5775FA63A965}" type="sibTrans" cxnId="{CDFD96DF-060C-4516-8A8F-4AB34826F24C}">
      <dgm:prSet/>
      <dgm:spPr/>
      <dgm:t>
        <a:bodyPr/>
        <a:lstStyle/>
        <a:p>
          <a:pPr latinLnBrk="1"/>
          <a:endParaRPr lang="ko-KR" altLang="en-US"/>
        </a:p>
      </dgm:t>
    </dgm:pt>
    <dgm:pt modelId="{799FC193-E628-476D-994C-D5D57722115D}">
      <dgm:prSet phldrT="[텍스트]" custT="1"/>
      <dgm:spPr/>
      <dgm:t>
        <a:bodyPr lIns="0" rIns="0"/>
        <a:lstStyle/>
        <a:p>
          <a:pPr latinLnBrk="1"/>
          <a:r>
            <a:rPr lang="ko-KR" altLang="en-US" sz="1000" b="0" spc="-70" baseline="0">
              <a:latin typeface="나눔고딕" panose="020D0604000000000000" pitchFamily="50" charset="-127"/>
              <a:ea typeface="나눔고딕" panose="020D0604000000000000" pitchFamily="50" charset="-127"/>
            </a:rPr>
            <a:t>환경설정</a:t>
          </a:r>
          <a:endParaRPr lang="ko-KR" altLang="en-US" sz="1000" b="0" spc="-70" baseline="0" dirty="0">
            <a:latin typeface="나눔고딕" panose="020D0604000000000000" pitchFamily="50" charset="-127"/>
            <a:ea typeface="나눔고딕" panose="020D0604000000000000" pitchFamily="50" charset="-127"/>
          </a:endParaRPr>
        </a:p>
      </dgm:t>
    </dgm:pt>
    <dgm:pt modelId="{5626CC66-D1F2-40A6-84A6-D4E1348AE853}" type="parTrans" cxnId="{4770AD7C-D924-4E10-B43A-A7786541F761}">
      <dgm:prSet/>
      <dgm:spPr/>
      <dgm:t>
        <a:bodyPr/>
        <a:lstStyle/>
        <a:p>
          <a:pPr latinLnBrk="1"/>
          <a:endParaRPr lang="ko-KR" altLang="en-US"/>
        </a:p>
      </dgm:t>
    </dgm:pt>
    <dgm:pt modelId="{C046D669-F469-47F8-A99E-A25744560968}" type="sibTrans" cxnId="{4770AD7C-D924-4E10-B43A-A7786541F761}">
      <dgm:prSet/>
      <dgm:spPr/>
      <dgm:t>
        <a:bodyPr/>
        <a:lstStyle/>
        <a:p>
          <a:pPr latinLnBrk="1"/>
          <a:endParaRPr lang="ko-KR" altLang="en-US"/>
        </a:p>
      </dgm:t>
    </dgm:pt>
    <dgm:pt modelId="{3C5609AA-9AC4-4D3A-A3D1-C86ADD8FD537}">
      <dgm:prSet phldrT="[텍스트]" custT="1"/>
      <dgm:spPr/>
      <dgm:t>
        <a:bodyPr lIns="0" rIns="0"/>
        <a:lstStyle/>
        <a:p>
          <a:pPr latinLnBrk="1"/>
          <a:r>
            <a:rPr lang="ko-KR" altLang="en-US" sz="1000" b="0" spc="-70" baseline="0">
              <a:latin typeface="나눔고딕" panose="020D0604000000000000" pitchFamily="50" charset="-127"/>
              <a:ea typeface="나눔고딕" panose="020D0604000000000000" pitchFamily="50" charset="-127"/>
            </a:rPr>
            <a:t>약관및정책조회</a:t>
          </a:r>
          <a:endParaRPr lang="ko-KR" altLang="en-US" sz="1000" b="0" spc="-70" baseline="0" dirty="0">
            <a:latin typeface="나눔고딕" panose="020D0604000000000000" pitchFamily="50" charset="-127"/>
            <a:ea typeface="나눔고딕" panose="020D0604000000000000" pitchFamily="50" charset="-127"/>
          </a:endParaRPr>
        </a:p>
      </dgm:t>
    </dgm:pt>
    <dgm:pt modelId="{77977417-3357-4110-8E97-E9ABA68BF184}" type="parTrans" cxnId="{B75D36FE-5805-451A-A32D-D3BE1C194E98}">
      <dgm:prSet/>
      <dgm:spPr/>
      <dgm:t>
        <a:bodyPr/>
        <a:lstStyle/>
        <a:p>
          <a:pPr latinLnBrk="1"/>
          <a:endParaRPr lang="ko-KR" altLang="en-US"/>
        </a:p>
      </dgm:t>
    </dgm:pt>
    <dgm:pt modelId="{3768B673-AE2D-45CF-AB91-D921DCBC8293}" type="sibTrans" cxnId="{B75D36FE-5805-451A-A32D-D3BE1C194E98}">
      <dgm:prSet/>
      <dgm:spPr/>
      <dgm:t>
        <a:bodyPr/>
        <a:lstStyle/>
        <a:p>
          <a:pPr latinLnBrk="1"/>
          <a:endParaRPr lang="ko-KR" altLang="en-US"/>
        </a:p>
      </dgm:t>
    </dgm:pt>
    <dgm:pt modelId="{AF72E00F-DFCF-4111-A5F1-89A3023FD81D}">
      <dgm:prSet phldrT="[텍스트]" custT="1"/>
      <dgm:spPr/>
      <dgm:t>
        <a:bodyPr lIns="0" rIns="0"/>
        <a:lstStyle/>
        <a:p>
          <a:pPr latinLnBrk="1"/>
          <a:r>
            <a:rPr lang="ko-KR" altLang="en-US" sz="1000" b="0" spc="-70" baseline="0">
              <a:latin typeface="나눔고딕" panose="020D0604000000000000" pitchFamily="50" charset="-127"/>
              <a:ea typeface="나눔고딕" panose="020D0604000000000000" pitchFamily="50" charset="-127"/>
            </a:rPr>
            <a:t>회원탈퇴</a:t>
          </a:r>
          <a:endParaRPr lang="ko-KR" altLang="en-US" sz="1000" b="0" spc="-70" baseline="0" dirty="0">
            <a:latin typeface="나눔고딕" panose="020D0604000000000000" pitchFamily="50" charset="-127"/>
            <a:ea typeface="나눔고딕" panose="020D0604000000000000" pitchFamily="50" charset="-127"/>
          </a:endParaRPr>
        </a:p>
      </dgm:t>
    </dgm:pt>
    <dgm:pt modelId="{505B21EF-E62D-471D-B766-DB7F8CD61D6F}" type="parTrans" cxnId="{78FB8C06-1D61-479B-A81C-B412AAAB4426}">
      <dgm:prSet/>
      <dgm:spPr/>
      <dgm:t>
        <a:bodyPr/>
        <a:lstStyle/>
        <a:p>
          <a:pPr latinLnBrk="1"/>
          <a:endParaRPr lang="ko-KR" altLang="en-US"/>
        </a:p>
      </dgm:t>
    </dgm:pt>
    <dgm:pt modelId="{DF9ADDD3-A503-4DBB-91F5-5960D0294309}" type="sibTrans" cxnId="{78FB8C06-1D61-479B-A81C-B412AAAB4426}">
      <dgm:prSet/>
      <dgm:spPr/>
      <dgm:t>
        <a:bodyPr/>
        <a:lstStyle/>
        <a:p>
          <a:pPr latinLnBrk="1"/>
          <a:endParaRPr lang="ko-KR" altLang="en-US"/>
        </a:p>
      </dgm:t>
    </dgm:pt>
    <dgm:pt modelId="{2875B079-C6CD-432E-8859-5F7ABFD6CF18}" type="asst">
      <dgm:prSet phldrT="[텍스트]" custT="1"/>
      <dgm:spPr/>
      <dgm:t>
        <a:bodyPr spcFirstLastPara="0" vert="horz" wrap="square" lIns="0" tIns="5715" rIns="0" bIns="5715" numCol="1" spcCol="1270" rtlCol="0" anchor="ctr" anchorCtr="0"/>
        <a:lstStyle/>
        <a:p>
          <a:pPr marL="0" lvl="0" indent="0" algn="ctr" defTabSz="40005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000" b="0" kern="1200" spc="-70" baseline="0">
              <a:latin typeface="나눔고딕" panose="020D0604000000000000" pitchFamily="50" charset="-127"/>
              <a:ea typeface="나눔고딕" panose="020D0604000000000000" pitchFamily="50" charset="-127"/>
              <a:cs typeface="+mn-cs"/>
            </a:rPr>
            <a:t>회원가입</a:t>
          </a:r>
          <a:endParaRPr lang="ko-KR" altLang="en-US" sz="1000" b="0" kern="1200" spc="-70" baseline="0" dirty="0">
            <a:latin typeface="나눔고딕" panose="020D0604000000000000" pitchFamily="50" charset="-127"/>
            <a:ea typeface="나눔고딕" panose="020D0604000000000000" pitchFamily="50" charset="-127"/>
            <a:cs typeface="+mn-cs"/>
          </a:endParaRPr>
        </a:p>
      </dgm:t>
    </dgm:pt>
    <dgm:pt modelId="{3697862F-261E-4560-8B2D-9589D24FBAAF}" type="parTrans" cxnId="{BB4B2D6E-0969-4D56-89F7-570402DFB1BC}">
      <dgm:prSet/>
      <dgm:spPr/>
      <dgm:t>
        <a:bodyPr/>
        <a:lstStyle/>
        <a:p>
          <a:pPr latinLnBrk="1"/>
          <a:endParaRPr lang="ko-KR" altLang="en-US"/>
        </a:p>
      </dgm:t>
    </dgm:pt>
    <dgm:pt modelId="{97AB2886-88B3-434D-B194-C8EF5E3DC45A}" type="sibTrans" cxnId="{BB4B2D6E-0969-4D56-89F7-570402DFB1BC}">
      <dgm:prSet/>
      <dgm:spPr/>
      <dgm:t>
        <a:bodyPr/>
        <a:lstStyle/>
        <a:p>
          <a:pPr latinLnBrk="1"/>
          <a:endParaRPr lang="ko-KR" altLang="en-US"/>
        </a:p>
      </dgm:t>
    </dgm:pt>
    <dgm:pt modelId="{8339AB11-0BB4-47A9-9FE4-FD533FA7D243}" type="asst">
      <dgm:prSet phldrT="[텍스트]" custT="1"/>
      <dgm:spPr/>
      <dgm:t>
        <a:bodyPr spcFirstLastPara="0" vert="horz" wrap="square" lIns="0" tIns="5715" rIns="0" bIns="5715" numCol="1" spcCol="1270" rtlCol="0" anchor="ctr" anchorCtr="0"/>
        <a:lstStyle/>
        <a:p>
          <a:pPr marL="0" lvl="0" indent="0" algn="ctr" defTabSz="40005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000" b="0" kern="1200" spc="-70" baseline="0">
              <a:latin typeface="나눔고딕" panose="020D0604000000000000" pitchFamily="50" charset="-127"/>
              <a:ea typeface="나눔고딕" panose="020D0604000000000000" pitchFamily="50" charset="-127"/>
              <a:cs typeface="+mn-cs"/>
            </a:rPr>
            <a:t>로그인</a:t>
          </a:r>
          <a:r>
            <a:rPr lang="en-US" altLang="ko-KR" sz="1000" b="0" kern="1200" spc="-70" baseline="0">
              <a:latin typeface="나눔고딕" panose="020D0604000000000000" pitchFamily="50" charset="-127"/>
              <a:ea typeface="나눔고딕" panose="020D0604000000000000" pitchFamily="50" charset="-127"/>
              <a:cs typeface="+mn-cs"/>
            </a:rPr>
            <a:t>/</a:t>
          </a:r>
          <a:r>
            <a:rPr lang="ko-KR" altLang="en-US" sz="1000" b="0" kern="1200" spc="-70" baseline="0">
              <a:latin typeface="나눔고딕" panose="020D0604000000000000" pitchFamily="50" charset="-127"/>
              <a:ea typeface="나눔고딕" panose="020D0604000000000000" pitchFamily="50" charset="-127"/>
              <a:cs typeface="+mn-cs"/>
            </a:rPr>
            <a:t>로그아웃</a:t>
          </a:r>
          <a:endParaRPr lang="ko-KR" altLang="en-US" sz="1000" b="0" kern="1200" spc="-70" baseline="0" dirty="0">
            <a:latin typeface="나눔고딕" panose="020D0604000000000000" pitchFamily="50" charset="-127"/>
            <a:ea typeface="나눔고딕" panose="020D0604000000000000" pitchFamily="50" charset="-127"/>
            <a:cs typeface="+mn-cs"/>
          </a:endParaRPr>
        </a:p>
      </dgm:t>
    </dgm:pt>
    <dgm:pt modelId="{43CE503E-198F-4A73-A0DB-D2D9098262C9}" type="parTrans" cxnId="{1A80C574-6A9A-4A4E-BF12-6BAA4161C8A5}">
      <dgm:prSet/>
      <dgm:spPr/>
      <dgm:t>
        <a:bodyPr/>
        <a:lstStyle/>
        <a:p>
          <a:pPr latinLnBrk="1"/>
          <a:endParaRPr lang="ko-KR" altLang="en-US"/>
        </a:p>
      </dgm:t>
    </dgm:pt>
    <dgm:pt modelId="{D839E307-4748-4315-BDC6-C1B12D0C73C2}" type="sibTrans" cxnId="{1A80C574-6A9A-4A4E-BF12-6BAA4161C8A5}">
      <dgm:prSet/>
      <dgm:spPr/>
      <dgm:t>
        <a:bodyPr/>
        <a:lstStyle/>
        <a:p>
          <a:pPr latinLnBrk="1"/>
          <a:endParaRPr lang="ko-KR" altLang="en-US"/>
        </a:p>
      </dgm:t>
    </dgm:pt>
    <dgm:pt modelId="{323A3808-42AA-4B91-9D6C-C064E81C7121}" type="pres">
      <dgm:prSet presAssocID="{FF43447B-6D2A-4E87-9776-A45F099068D6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5630906F-722C-4B74-8097-992A9E0D1202}" type="pres">
      <dgm:prSet presAssocID="{6DFC5AE2-6E7C-4917-8057-5C74705D9D9D}" presName="hierRoot1" presStyleCnt="0">
        <dgm:presLayoutVars>
          <dgm:hierBranch val="init"/>
        </dgm:presLayoutVars>
      </dgm:prSet>
      <dgm:spPr/>
    </dgm:pt>
    <dgm:pt modelId="{60D12FE8-E242-4A43-B982-C8FD0DDB3B0E}" type="pres">
      <dgm:prSet presAssocID="{6DFC5AE2-6E7C-4917-8057-5C74705D9D9D}" presName="rootComposite1" presStyleCnt="0"/>
      <dgm:spPr/>
    </dgm:pt>
    <dgm:pt modelId="{EFC88690-823F-4158-A029-566E82AD0A48}" type="pres">
      <dgm:prSet presAssocID="{6DFC5AE2-6E7C-4917-8057-5C74705D9D9D}" presName="rootText1" presStyleLbl="node0" presStyleIdx="0" presStyleCnt="1" custScaleX="71159" custScaleY="73255">
        <dgm:presLayoutVars>
          <dgm:chPref val="3"/>
        </dgm:presLayoutVars>
      </dgm:prSet>
      <dgm:spPr/>
    </dgm:pt>
    <dgm:pt modelId="{DA588E9D-DBF8-4C56-9AFC-8970409F8477}" type="pres">
      <dgm:prSet presAssocID="{6DFC5AE2-6E7C-4917-8057-5C74705D9D9D}" presName="rootConnector1" presStyleLbl="node1" presStyleIdx="0" presStyleCnt="0"/>
      <dgm:spPr/>
    </dgm:pt>
    <dgm:pt modelId="{A2D99510-55E2-4F7C-9B85-9BD3CB214B47}" type="pres">
      <dgm:prSet presAssocID="{6DFC5AE2-6E7C-4917-8057-5C74705D9D9D}" presName="hierChild2" presStyleCnt="0"/>
      <dgm:spPr/>
    </dgm:pt>
    <dgm:pt modelId="{6768E07E-F48E-4229-A8B7-ABF8737BF732}" type="pres">
      <dgm:prSet presAssocID="{3250ED57-B49D-4C76-A87C-64E5219AFA0F}" presName="Name37" presStyleLbl="parChTrans1D2" presStyleIdx="0" presStyleCnt="9"/>
      <dgm:spPr/>
    </dgm:pt>
    <dgm:pt modelId="{E083A154-CFDE-40BC-A0D7-597539DC1700}" type="pres">
      <dgm:prSet presAssocID="{4B9457D5-645A-4D31-9CED-EE0587DAC6A0}" presName="hierRoot2" presStyleCnt="0">
        <dgm:presLayoutVars>
          <dgm:hierBranch val="init"/>
        </dgm:presLayoutVars>
      </dgm:prSet>
      <dgm:spPr/>
    </dgm:pt>
    <dgm:pt modelId="{38CA0EF9-06EA-4667-80EA-807BA24B1DC5}" type="pres">
      <dgm:prSet presAssocID="{4B9457D5-645A-4D31-9CED-EE0587DAC6A0}" presName="rootComposite" presStyleCnt="0"/>
      <dgm:spPr/>
    </dgm:pt>
    <dgm:pt modelId="{9BB0E03A-4BD4-4C68-AE54-C9E7FCB93BCA}" type="pres">
      <dgm:prSet presAssocID="{4B9457D5-645A-4D31-9CED-EE0587DAC6A0}" presName="rootText" presStyleLbl="node2" presStyleIdx="0" presStyleCnt="7" custScaleX="71159" custScaleY="73255">
        <dgm:presLayoutVars>
          <dgm:chPref val="3"/>
        </dgm:presLayoutVars>
      </dgm:prSet>
      <dgm:spPr/>
    </dgm:pt>
    <dgm:pt modelId="{403D4DDD-AA1E-45AD-962A-6A558914AC78}" type="pres">
      <dgm:prSet presAssocID="{4B9457D5-645A-4D31-9CED-EE0587DAC6A0}" presName="rootConnector" presStyleLbl="node2" presStyleIdx="0" presStyleCnt="7"/>
      <dgm:spPr/>
    </dgm:pt>
    <dgm:pt modelId="{78082C61-075C-4E4F-99D5-3504714114DF}" type="pres">
      <dgm:prSet presAssocID="{4B9457D5-645A-4D31-9CED-EE0587DAC6A0}" presName="hierChild4" presStyleCnt="0"/>
      <dgm:spPr/>
    </dgm:pt>
    <dgm:pt modelId="{ABA5DDBC-F8BC-4BE9-AD91-D1060BA8EE3C}" type="pres">
      <dgm:prSet presAssocID="{49E736A4-EE09-4020-8E56-985D249B1C83}" presName="Name37" presStyleLbl="parChTrans1D3" presStyleIdx="0" presStyleCnt="17"/>
      <dgm:spPr/>
    </dgm:pt>
    <dgm:pt modelId="{DAEEBA6F-132B-4300-8FC7-61E9718A1BE8}" type="pres">
      <dgm:prSet presAssocID="{C815A540-13E4-40BD-BAC9-82A9AB1F31B2}" presName="hierRoot2" presStyleCnt="0">
        <dgm:presLayoutVars>
          <dgm:hierBranch val="init"/>
        </dgm:presLayoutVars>
      </dgm:prSet>
      <dgm:spPr/>
    </dgm:pt>
    <dgm:pt modelId="{28CC8C6E-AF12-4C16-93E2-B78ADB4E8348}" type="pres">
      <dgm:prSet presAssocID="{C815A540-13E4-40BD-BAC9-82A9AB1F31B2}" presName="rootComposite" presStyleCnt="0"/>
      <dgm:spPr/>
    </dgm:pt>
    <dgm:pt modelId="{BC37007C-D3BD-48A6-B003-2D91750AE3F0}" type="pres">
      <dgm:prSet presAssocID="{C815A540-13E4-40BD-BAC9-82A9AB1F31B2}" presName="rootText" presStyleLbl="node3" presStyleIdx="0" presStyleCnt="17" custScaleX="71159" custScaleY="73255">
        <dgm:presLayoutVars>
          <dgm:chPref val="3"/>
        </dgm:presLayoutVars>
      </dgm:prSet>
      <dgm:spPr/>
    </dgm:pt>
    <dgm:pt modelId="{681947D6-FFE2-449F-95BE-AF39FDDBD44B}" type="pres">
      <dgm:prSet presAssocID="{C815A540-13E4-40BD-BAC9-82A9AB1F31B2}" presName="rootConnector" presStyleLbl="node3" presStyleIdx="0" presStyleCnt="17"/>
      <dgm:spPr/>
    </dgm:pt>
    <dgm:pt modelId="{F9D716B3-A54D-4325-9BC3-4F97D72C89E2}" type="pres">
      <dgm:prSet presAssocID="{C815A540-13E4-40BD-BAC9-82A9AB1F31B2}" presName="hierChild4" presStyleCnt="0"/>
      <dgm:spPr/>
    </dgm:pt>
    <dgm:pt modelId="{4D02ECB7-F459-4193-B79C-68101391F6EA}" type="pres">
      <dgm:prSet presAssocID="{C815A540-13E4-40BD-BAC9-82A9AB1F31B2}" presName="hierChild5" presStyleCnt="0"/>
      <dgm:spPr/>
    </dgm:pt>
    <dgm:pt modelId="{53597473-1251-4AE5-9C6E-A4EFD0BA675D}" type="pres">
      <dgm:prSet presAssocID="{4B9457D5-645A-4D31-9CED-EE0587DAC6A0}" presName="hierChild5" presStyleCnt="0"/>
      <dgm:spPr/>
    </dgm:pt>
    <dgm:pt modelId="{568A51AE-DECA-4013-A4D5-3972674358B0}" type="pres">
      <dgm:prSet presAssocID="{EDEA2C56-A004-4AF8-AA88-088BBFF12AAA}" presName="Name37" presStyleLbl="parChTrans1D2" presStyleIdx="1" presStyleCnt="9"/>
      <dgm:spPr/>
    </dgm:pt>
    <dgm:pt modelId="{979DA93D-BF18-47D7-8BB1-93B45A5EA538}" type="pres">
      <dgm:prSet presAssocID="{6BB1E951-30F9-4EAA-BF09-2B25774B896A}" presName="hierRoot2" presStyleCnt="0">
        <dgm:presLayoutVars>
          <dgm:hierBranch val="init"/>
        </dgm:presLayoutVars>
      </dgm:prSet>
      <dgm:spPr/>
    </dgm:pt>
    <dgm:pt modelId="{1D00A953-28EF-4B82-B14B-2ECBEFEF1BA9}" type="pres">
      <dgm:prSet presAssocID="{6BB1E951-30F9-4EAA-BF09-2B25774B896A}" presName="rootComposite" presStyleCnt="0"/>
      <dgm:spPr/>
    </dgm:pt>
    <dgm:pt modelId="{DCF0A5BA-E67B-496E-BC12-CBDEA646CF07}" type="pres">
      <dgm:prSet presAssocID="{6BB1E951-30F9-4EAA-BF09-2B25774B896A}" presName="rootText" presStyleLbl="node2" presStyleIdx="1" presStyleCnt="7" custScaleX="71159" custScaleY="73255">
        <dgm:presLayoutVars>
          <dgm:chPref val="3"/>
        </dgm:presLayoutVars>
      </dgm:prSet>
      <dgm:spPr/>
    </dgm:pt>
    <dgm:pt modelId="{218C37B2-5284-4639-BA8F-8B45D3427503}" type="pres">
      <dgm:prSet presAssocID="{6BB1E951-30F9-4EAA-BF09-2B25774B896A}" presName="rootConnector" presStyleLbl="node2" presStyleIdx="1" presStyleCnt="7"/>
      <dgm:spPr/>
    </dgm:pt>
    <dgm:pt modelId="{6400FEB4-B614-4142-BC07-7F2A4C6FC00B}" type="pres">
      <dgm:prSet presAssocID="{6BB1E951-30F9-4EAA-BF09-2B25774B896A}" presName="hierChild4" presStyleCnt="0"/>
      <dgm:spPr/>
    </dgm:pt>
    <dgm:pt modelId="{4B90F50A-0B72-43AF-A82C-1E4F330B5C9D}" type="pres">
      <dgm:prSet presAssocID="{2B65299D-08C3-43EC-90FD-C6BB43083FEB}" presName="Name37" presStyleLbl="parChTrans1D3" presStyleIdx="1" presStyleCnt="17"/>
      <dgm:spPr/>
    </dgm:pt>
    <dgm:pt modelId="{78C7E960-A49B-41DD-AA94-000ACC70E0CD}" type="pres">
      <dgm:prSet presAssocID="{DD7865B5-20DA-4533-A08A-BD5AB7ED00BF}" presName="hierRoot2" presStyleCnt="0">
        <dgm:presLayoutVars>
          <dgm:hierBranch val="init"/>
        </dgm:presLayoutVars>
      </dgm:prSet>
      <dgm:spPr/>
    </dgm:pt>
    <dgm:pt modelId="{ACB3EC9D-825F-4929-9E53-6D58EB35C4B1}" type="pres">
      <dgm:prSet presAssocID="{DD7865B5-20DA-4533-A08A-BD5AB7ED00BF}" presName="rootComposite" presStyleCnt="0"/>
      <dgm:spPr/>
    </dgm:pt>
    <dgm:pt modelId="{A5DE9AE0-25E0-4835-8879-ACD2D38E1323}" type="pres">
      <dgm:prSet presAssocID="{DD7865B5-20DA-4533-A08A-BD5AB7ED00BF}" presName="rootText" presStyleLbl="node3" presStyleIdx="1" presStyleCnt="17" custScaleX="71159" custScaleY="73255">
        <dgm:presLayoutVars>
          <dgm:chPref val="3"/>
        </dgm:presLayoutVars>
      </dgm:prSet>
      <dgm:spPr/>
    </dgm:pt>
    <dgm:pt modelId="{8F7E9C0D-CCB0-4E96-B7F7-D8EF42572605}" type="pres">
      <dgm:prSet presAssocID="{DD7865B5-20DA-4533-A08A-BD5AB7ED00BF}" presName="rootConnector" presStyleLbl="node3" presStyleIdx="1" presStyleCnt="17"/>
      <dgm:spPr/>
    </dgm:pt>
    <dgm:pt modelId="{CDF48593-7803-43D0-AC19-961C3CE8109B}" type="pres">
      <dgm:prSet presAssocID="{DD7865B5-20DA-4533-A08A-BD5AB7ED00BF}" presName="hierChild4" presStyleCnt="0"/>
      <dgm:spPr/>
    </dgm:pt>
    <dgm:pt modelId="{2E408076-BF6C-4D3B-9C7D-D484484699D5}" type="pres">
      <dgm:prSet presAssocID="{DD7865B5-20DA-4533-A08A-BD5AB7ED00BF}" presName="hierChild5" presStyleCnt="0"/>
      <dgm:spPr/>
    </dgm:pt>
    <dgm:pt modelId="{2CB5168A-B09A-482B-8EC0-F83DB383CAC3}" type="pres">
      <dgm:prSet presAssocID="{39511C94-1DF4-45AE-A5D1-7A679E88BD6A}" presName="Name37" presStyleLbl="parChTrans1D3" presStyleIdx="2" presStyleCnt="17"/>
      <dgm:spPr/>
    </dgm:pt>
    <dgm:pt modelId="{1C5F80B2-6DE0-4730-A750-32C2BE79D899}" type="pres">
      <dgm:prSet presAssocID="{38D76C0D-BBF1-4814-9B13-CE727BA3B644}" presName="hierRoot2" presStyleCnt="0">
        <dgm:presLayoutVars>
          <dgm:hierBranch val="init"/>
        </dgm:presLayoutVars>
      </dgm:prSet>
      <dgm:spPr/>
    </dgm:pt>
    <dgm:pt modelId="{3F2B2CE4-D619-4701-91A6-4AFD22C4B307}" type="pres">
      <dgm:prSet presAssocID="{38D76C0D-BBF1-4814-9B13-CE727BA3B644}" presName="rootComposite" presStyleCnt="0"/>
      <dgm:spPr/>
    </dgm:pt>
    <dgm:pt modelId="{E58152A2-1F33-403C-9350-782D337FABDD}" type="pres">
      <dgm:prSet presAssocID="{38D76C0D-BBF1-4814-9B13-CE727BA3B644}" presName="rootText" presStyleLbl="node3" presStyleIdx="2" presStyleCnt="17" custScaleX="71159" custScaleY="73255">
        <dgm:presLayoutVars>
          <dgm:chPref val="3"/>
        </dgm:presLayoutVars>
      </dgm:prSet>
      <dgm:spPr/>
    </dgm:pt>
    <dgm:pt modelId="{5E059CEA-0C1D-4619-8ABC-68D5F6131990}" type="pres">
      <dgm:prSet presAssocID="{38D76C0D-BBF1-4814-9B13-CE727BA3B644}" presName="rootConnector" presStyleLbl="node3" presStyleIdx="2" presStyleCnt="17"/>
      <dgm:spPr/>
    </dgm:pt>
    <dgm:pt modelId="{EA9C557C-6061-4003-9551-2436DC5446D7}" type="pres">
      <dgm:prSet presAssocID="{38D76C0D-BBF1-4814-9B13-CE727BA3B644}" presName="hierChild4" presStyleCnt="0"/>
      <dgm:spPr/>
    </dgm:pt>
    <dgm:pt modelId="{8AA527C2-ABBE-4BAE-9770-05096C766D35}" type="pres">
      <dgm:prSet presAssocID="{38D76C0D-BBF1-4814-9B13-CE727BA3B644}" presName="hierChild5" presStyleCnt="0"/>
      <dgm:spPr/>
    </dgm:pt>
    <dgm:pt modelId="{AB7A6DB4-DC9B-46BD-8FF4-884D8F423952}" type="pres">
      <dgm:prSet presAssocID="{4A0E2D23-9485-4F24-BC63-09EA3EF678E4}" presName="Name37" presStyleLbl="parChTrans1D3" presStyleIdx="3" presStyleCnt="17"/>
      <dgm:spPr/>
    </dgm:pt>
    <dgm:pt modelId="{CCE60A23-0E3C-485A-A236-1AA526581AC9}" type="pres">
      <dgm:prSet presAssocID="{45743D59-2551-4361-8D4C-07FB0C033EEB}" presName="hierRoot2" presStyleCnt="0">
        <dgm:presLayoutVars>
          <dgm:hierBranch val="init"/>
        </dgm:presLayoutVars>
      </dgm:prSet>
      <dgm:spPr/>
    </dgm:pt>
    <dgm:pt modelId="{0D083F0F-0ACE-47C0-8273-0C904687802B}" type="pres">
      <dgm:prSet presAssocID="{45743D59-2551-4361-8D4C-07FB0C033EEB}" presName="rootComposite" presStyleCnt="0"/>
      <dgm:spPr/>
    </dgm:pt>
    <dgm:pt modelId="{13C1080A-0D0B-4DE3-9356-7FBC839A1717}" type="pres">
      <dgm:prSet presAssocID="{45743D59-2551-4361-8D4C-07FB0C033EEB}" presName="rootText" presStyleLbl="node3" presStyleIdx="3" presStyleCnt="17" custScaleX="71159" custScaleY="73255">
        <dgm:presLayoutVars>
          <dgm:chPref val="3"/>
        </dgm:presLayoutVars>
      </dgm:prSet>
      <dgm:spPr/>
    </dgm:pt>
    <dgm:pt modelId="{5F019C9A-5800-46DA-84B5-9212CD650A0B}" type="pres">
      <dgm:prSet presAssocID="{45743D59-2551-4361-8D4C-07FB0C033EEB}" presName="rootConnector" presStyleLbl="node3" presStyleIdx="3" presStyleCnt="17"/>
      <dgm:spPr/>
    </dgm:pt>
    <dgm:pt modelId="{55531FCF-60B1-4095-B50A-9AE67B5FC7EF}" type="pres">
      <dgm:prSet presAssocID="{45743D59-2551-4361-8D4C-07FB0C033EEB}" presName="hierChild4" presStyleCnt="0"/>
      <dgm:spPr/>
    </dgm:pt>
    <dgm:pt modelId="{59E6A848-AA1A-4B04-9D32-034CFFF45B81}" type="pres">
      <dgm:prSet presAssocID="{45743D59-2551-4361-8D4C-07FB0C033EEB}" presName="hierChild5" presStyleCnt="0"/>
      <dgm:spPr/>
    </dgm:pt>
    <dgm:pt modelId="{B217CFF4-B211-4138-983A-90DE8D8E692D}" type="pres">
      <dgm:prSet presAssocID="{38B38290-78F3-4C26-904D-CF9A72E8B4A5}" presName="Name37" presStyleLbl="parChTrans1D3" presStyleIdx="4" presStyleCnt="17"/>
      <dgm:spPr/>
    </dgm:pt>
    <dgm:pt modelId="{9E0D3ECE-B7F6-4E1B-9B72-4F06740C9BC9}" type="pres">
      <dgm:prSet presAssocID="{1E6F696F-D568-45E3-8864-CA1884A80FC1}" presName="hierRoot2" presStyleCnt="0">
        <dgm:presLayoutVars>
          <dgm:hierBranch val="init"/>
        </dgm:presLayoutVars>
      </dgm:prSet>
      <dgm:spPr/>
    </dgm:pt>
    <dgm:pt modelId="{2ACB6D8D-A675-4876-A6ED-ADAFE68B8CB2}" type="pres">
      <dgm:prSet presAssocID="{1E6F696F-D568-45E3-8864-CA1884A80FC1}" presName="rootComposite" presStyleCnt="0"/>
      <dgm:spPr/>
    </dgm:pt>
    <dgm:pt modelId="{C3894397-70E5-4648-ABEC-1AB330383C13}" type="pres">
      <dgm:prSet presAssocID="{1E6F696F-D568-45E3-8864-CA1884A80FC1}" presName="rootText" presStyleLbl="node3" presStyleIdx="4" presStyleCnt="17" custScaleX="71159" custScaleY="73255">
        <dgm:presLayoutVars>
          <dgm:chPref val="3"/>
        </dgm:presLayoutVars>
      </dgm:prSet>
      <dgm:spPr/>
    </dgm:pt>
    <dgm:pt modelId="{10320F1E-4541-4A94-8AA9-4953BD9B9109}" type="pres">
      <dgm:prSet presAssocID="{1E6F696F-D568-45E3-8864-CA1884A80FC1}" presName="rootConnector" presStyleLbl="node3" presStyleIdx="4" presStyleCnt="17"/>
      <dgm:spPr/>
    </dgm:pt>
    <dgm:pt modelId="{BFA7363D-3895-4E83-9931-9E9BEEBD25B5}" type="pres">
      <dgm:prSet presAssocID="{1E6F696F-D568-45E3-8864-CA1884A80FC1}" presName="hierChild4" presStyleCnt="0"/>
      <dgm:spPr/>
    </dgm:pt>
    <dgm:pt modelId="{571D55BA-1092-402A-A77D-5D643180843C}" type="pres">
      <dgm:prSet presAssocID="{1E6F696F-D568-45E3-8864-CA1884A80FC1}" presName="hierChild5" presStyleCnt="0"/>
      <dgm:spPr/>
    </dgm:pt>
    <dgm:pt modelId="{EA8C0ABE-1706-4F03-99C3-2BD26494C05E}" type="pres">
      <dgm:prSet presAssocID="{6BB1E951-30F9-4EAA-BF09-2B25774B896A}" presName="hierChild5" presStyleCnt="0"/>
      <dgm:spPr/>
    </dgm:pt>
    <dgm:pt modelId="{E1358C00-370A-4FF4-8217-FEAEB2151FAE}" type="pres">
      <dgm:prSet presAssocID="{CE2908F8-3570-41E8-BC40-3330F0E9DD41}" presName="Name37" presStyleLbl="parChTrans1D2" presStyleIdx="2" presStyleCnt="9"/>
      <dgm:spPr/>
    </dgm:pt>
    <dgm:pt modelId="{7F0B3DFE-7788-4C84-BE93-74D245D8195A}" type="pres">
      <dgm:prSet presAssocID="{2C0B4ECC-4BFC-4179-99DB-A697C1C4FE66}" presName="hierRoot2" presStyleCnt="0">
        <dgm:presLayoutVars>
          <dgm:hierBranch val="init"/>
        </dgm:presLayoutVars>
      </dgm:prSet>
      <dgm:spPr/>
    </dgm:pt>
    <dgm:pt modelId="{6A37C65A-9FE1-4353-A4F0-1E26A04FD473}" type="pres">
      <dgm:prSet presAssocID="{2C0B4ECC-4BFC-4179-99DB-A697C1C4FE66}" presName="rootComposite" presStyleCnt="0"/>
      <dgm:spPr/>
    </dgm:pt>
    <dgm:pt modelId="{99C672C4-1847-4671-B091-C92BDF5A2279}" type="pres">
      <dgm:prSet presAssocID="{2C0B4ECC-4BFC-4179-99DB-A697C1C4FE66}" presName="rootText" presStyleLbl="node2" presStyleIdx="2" presStyleCnt="7" custScaleX="71159" custScaleY="73255">
        <dgm:presLayoutVars>
          <dgm:chPref val="3"/>
        </dgm:presLayoutVars>
      </dgm:prSet>
      <dgm:spPr/>
    </dgm:pt>
    <dgm:pt modelId="{591ABF03-CE86-46C4-849A-89551C938267}" type="pres">
      <dgm:prSet presAssocID="{2C0B4ECC-4BFC-4179-99DB-A697C1C4FE66}" presName="rootConnector" presStyleLbl="node2" presStyleIdx="2" presStyleCnt="7"/>
      <dgm:spPr/>
    </dgm:pt>
    <dgm:pt modelId="{4A67F4F7-496C-4B49-8D65-52DA1D2063CC}" type="pres">
      <dgm:prSet presAssocID="{2C0B4ECC-4BFC-4179-99DB-A697C1C4FE66}" presName="hierChild4" presStyleCnt="0"/>
      <dgm:spPr/>
    </dgm:pt>
    <dgm:pt modelId="{BD447C8C-5208-400C-AC14-68BE588DECE7}" type="pres">
      <dgm:prSet presAssocID="{AC404A0B-FE27-4F3B-BA46-ADEFBDEF0C51}" presName="Name37" presStyleLbl="parChTrans1D3" presStyleIdx="5" presStyleCnt="17"/>
      <dgm:spPr/>
    </dgm:pt>
    <dgm:pt modelId="{DC696E71-10D2-49B1-85A3-0FCB1B26CE60}" type="pres">
      <dgm:prSet presAssocID="{931AB28D-3BA4-4B34-BA16-23DEAC2242FB}" presName="hierRoot2" presStyleCnt="0">
        <dgm:presLayoutVars>
          <dgm:hierBranch val="init"/>
        </dgm:presLayoutVars>
      </dgm:prSet>
      <dgm:spPr/>
    </dgm:pt>
    <dgm:pt modelId="{A5DE6FAD-522E-4D2F-AF56-EBA7F8C17EC6}" type="pres">
      <dgm:prSet presAssocID="{931AB28D-3BA4-4B34-BA16-23DEAC2242FB}" presName="rootComposite" presStyleCnt="0"/>
      <dgm:spPr/>
    </dgm:pt>
    <dgm:pt modelId="{2BE48818-742B-4442-A055-A0C57BB4DC0F}" type="pres">
      <dgm:prSet presAssocID="{931AB28D-3BA4-4B34-BA16-23DEAC2242FB}" presName="rootText" presStyleLbl="node3" presStyleIdx="5" presStyleCnt="17" custScaleX="71159" custScaleY="73255">
        <dgm:presLayoutVars>
          <dgm:chPref val="3"/>
        </dgm:presLayoutVars>
      </dgm:prSet>
      <dgm:spPr/>
    </dgm:pt>
    <dgm:pt modelId="{318175A8-C883-4AB5-9991-3993CF5CEFC5}" type="pres">
      <dgm:prSet presAssocID="{931AB28D-3BA4-4B34-BA16-23DEAC2242FB}" presName="rootConnector" presStyleLbl="node3" presStyleIdx="5" presStyleCnt="17"/>
      <dgm:spPr/>
    </dgm:pt>
    <dgm:pt modelId="{D3FE2942-A07D-4EFE-8F78-9A0B050FC074}" type="pres">
      <dgm:prSet presAssocID="{931AB28D-3BA4-4B34-BA16-23DEAC2242FB}" presName="hierChild4" presStyleCnt="0"/>
      <dgm:spPr/>
    </dgm:pt>
    <dgm:pt modelId="{24DB3922-EC7C-45E4-95B8-BD77E947DE01}" type="pres">
      <dgm:prSet presAssocID="{931AB28D-3BA4-4B34-BA16-23DEAC2242FB}" presName="hierChild5" presStyleCnt="0"/>
      <dgm:spPr/>
    </dgm:pt>
    <dgm:pt modelId="{DEA44009-D2FC-4650-A0F7-87F299BF4308}" type="pres">
      <dgm:prSet presAssocID="{C9E814BE-0805-4D90-B852-BABF1D620F83}" presName="Name37" presStyleLbl="parChTrans1D3" presStyleIdx="6" presStyleCnt="17"/>
      <dgm:spPr/>
    </dgm:pt>
    <dgm:pt modelId="{78C38F46-246D-4B81-AC35-39FBE6E09D2D}" type="pres">
      <dgm:prSet presAssocID="{B1FC590D-0C96-4B39-9988-056B1B0EDA16}" presName="hierRoot2" presStyleCnt="0">
        <dgm:presLayoutVars>
          <dgm:hierBranch val="init"/>
        </dgm:presLayoutVars>
      </dgm:prSet>
      <dgm:spPr/>
    </dgm:pt>
    <dgm:pt modelId="{54990139-B2A6-4E6D-944C-F83745C148A3}" type="pres">
      <dgm:prSet presAssocID="{B1FC590D-0C96-4B39-9988-056B1B0EDA16}" presName="rootComposite" presStyleCnt="0"/>
      <dgm:spPr/>
    </dgm:pt>
    <dgm:pt modelId="{91159476-6152-4002-9397-4A4F0868A211}" type="pres">
      <dgm:prSet presAssocID="{B1FC590D-0C96-4B39-9988-056B1B0EDA16}" presName="rootText" presStyleLbl="node3" presStyleIdx="6" presStyleCnt="17" custScaleX="71159" custScaleY="73255">
        <dgm:presLayoutVars>
          <dgm:chPref val="3"/>
        </dgm:presLayoutVars>
      </dgm:prSet>
      <dgm:spPr/>
    </dgm:pt>
    <dgm:pt modelId="{EA25830B-6BBE-4555-8825-3DD66A6BD705}" type="pres">
      <dgm:prSet presAssocID="{B1FC590D-0C96-4B39-9988-056B1B0EDA16}" presName="rootConnector" presStyleLbl="node3" presStyleIdx="6" presStyleCnt="17"/>
      <dgm:spPr/>
    </dgm:pt>
    <dgm:pt modelId="{6C260135-350D-4828-89C0-50659C969230}" type="pres">
      <dgm:prSet presAssocID="{B1FC590D-0C96-4B39-9988-056B1B0EDA16}" presName="hierChild4" presStyleCnt="0"/>
      <dgm:spPr/>
    </dgm:pt>
    <dgm:pt modelId="{F875087A-693A-47D5-97F1-257926B97EA4}" type="pres">
      <dgm:prSet presAssocID="{B1FC590D-0C96-4B39-9988-056B1B0EDA16}" presName="hierChild5" presStyleCnt="0"/>
      <dgm:spPr/>
    </dgm:pt>
    <dgm:pt modelId="{0C91FBBF-905B-4C3D-8DAA-9B71DF85530D}" type="pres">
      <dgm:prSet presAssocID="{2C0B4ECC-4BFC-4179-99DB-A697C1C4FE66}" presName="hierChild5" presStyleCnt="0"/>
      <dgm:spPr/>
    </dgm:pt>
    <dgm:pt modelId="{1E085668-5F81-46A4-B3C8-4B7B97FCE06B}" type="pres">
      <dgm:prSet presAssocID="{8DC24D90-7552-4B3E-80B7-AEC695C76EA4}" presName="Name37" presStyleLbl="parChTrans1D2" presStyleIdx="3" presStyleCnt="9"/>
      <dgm:spPr/>
    </dgm:pt>
    <dgm:pt modelId="{37CB7299-9BF9-41DE-A8D4-7FAD5318BF35}" type="pres">
      <dgm:prSet presAssocID="{77A7CD76-5F3D-4D92-B8A6-638CCFA4154D}" presName="hierRoot2" presStyleCnt="0">
        <dgm:presLayoutVars>
          <dgm:hierBranch val="init"/>
        </dgm:presLayoutVars>
      </dgm:prSet>
      <dgm:spPr/>
    </dgm:pt>
    <dgm:pt modelId="{66D5B127-8B09-4C1E-9520-F2B23E37ED9F}" type="pres">
      <dgm:prSet presAssocID="{77A7CD76-5F3D-4D92-B8A6-638CCFA4154D}" presName="rootComposite" presStyleCnt="0"/>
      <dgm:spPr/>
    </dgm:pt>
    <dgm:pt modelId="{30F4AFFF-EA23-484A-90D1-1C9F0AF88388}" type="pres">
      <dgm:prSet presAssocID="{77A7CD76-5F3D-4D92-B8A6-638CCFA4154D}" presName="rootText" presStyleLbl="node2" presStyleIdx="3" presStyleCnt="7" custScaleX="71159" custScaleY="73255">
        <dgm:presLayoutVars>
          <dgm:chPref val="3"/>
        </dgm:presLayoutVars>
      </dgm:prSet>
      <dgm:spPr/>
    </dgm:pt>
    <dgm:pt modelId="{CC075428-7158-4ED8-BE5C-FEF5FFD5492F}" type="pres">
      <dgm:prSet presAssocID="{77A7CD76-5F3D-4D92-B8A6-638CCFA4154D}" presName="rootConnector" presStyleLbl="node2" presStyleIdx="3" presStyleCnt="7"/>
      <dgm:spPr/>
    </dgm:pt>
    <dgm:pt modelId="{546636E2-C806-401B-8F7B-246F5EDB952B}" type="pres">
      <dgm:prSet presAssocID="{77A7CD76-5F3D-4D92-B8A6-638CCFA4154D}" presName="hierChild4" presStyleCnt="0"/>
      <dgm:spPr/>
    </dgm:pt>
    <dgm:pt modelId="{49067820-ABF4-4847-AA44-A1C63250F33F}" type="pres">
      <dgm:prSet presAssocID="{BD9EA7ED-9A15-4511-979D-AC5DEEA1CD06}" presName="Name37" presStyleLbl="parChTrans1D3" presStyleIdx="7" presStyleCnt="17"/>
      <dgm:spPr/>
    </dgm:pt>
    <dgm:pt modelId="{CD6FAAF6-576C-4F95-85AC-5A4A4EF129D2}" type="pres">
      <dgm:prSet presAssocID="{616219AB-E0E2-4CDA-B08C-9107B71FF357}" presName="hierRoot2" presStyleCnt="0">
        <dgm:presLayoutVars>
          <dgm:hierBranch val="init"/>
        </dgm:presLayoutVars>
      </dgm:prSet>
      <dgm:spPr/>
    </dgm:pt>
    <dgm:pt modelId="{14530E19-0EA1-46C4-9309-D53131600257}" type="pres">
      <dgm:prSet presAssocID="{616219AB-E0E2-4CDA-B08C-9107B71FF357}" presName="rootComposite" presStyleCnt="0"/>
      <dgm:spPr/>
    </dgm:pt>
    <dgm:pt modelId="{8DA62F6A-A266-46EF-9B5B-FF72031BCE00}" type="pres">
      <dgm:prSet presAssocID="{616219AB-E0E2-4CDA-B08C-9107B71FF357}" presName="rootText" presStyleLbl="node3" presStyleIdx="7" presStyleCnt="17" custScaleX="71159" custScaleY="73255">
        <dgm:presLayoutVars>
          <dgm:chPref val="3"/>
        </dgm:presLayoutVars>
      </dgm:prSet>
      <dgm:spPr/>
    </dgm:pt>
    <dgm:pt modelId="{030185CE-4481-43C8-A97F-B68ECDF28FB7}" type="pres">
      <dgm:prSet presAssocID="{616219AB-E0E2-4CDA-B08C-9107B71FF357}" presName="rootConnector" presStyleLbl="node3" presStyleIdx="7" presStyleCnt="17"/>
      <dgm:spPr/>
    </dgm:pt>
    <dgm:pt modelId="{3A825DD1-92F9-46C1-A6B7-EC2E334ADD47}" type="pres">
      <dgm:prSet presAssocID="{616219AB-E0E2-4CDA-B08C-9107B71FF357}" presName="hierChild4" presStyleCnt="0"/>
      <dgm:spPr/>
    </dgm:pt>
    <dgm:pt modelId="{2B7B206D-C12C-4399-A4EC-6467583CD759}" type="pres">
      <dgm:prSet presAssocID="{616219AB-E0E2-4CDA-B08C-9107B71FF357}" presName="hierChild5" presStyleCnt="0"/>
      <dgm:spPr/>
    </dgm:pt>
    <dgm:pt modelId="{EE691B9D-8A81-41C9-9537-6DD7A99DE0E3}" type="pres">
      <dgm:prSet presAssocID="{B853E9AB-0C4F-491F-BB69-017ABCF6B6C8}" presName="Name37" presStyleLbl="parChTrans1D3" presStyleIdx="8" presStyleCnt="17"/>
      <dgm:spPr/>
    </dgm:pt>
    <dgm:pt modelId="{B53D94EE-83B6-424E-B3FE-1B66AEE7C251}" type="pres">
      <dgm:prSet presAssocID="{831EB9B5-1746-4E48-9CDE-4A2603D28CA7}" presName="hierRoot2" presStyleCnt="0">
        <dgm:presLayoutVars>
          <dgm:hierBranch val="init"/>
        </dgm:presLayoutVars>
      </dgm:prSet>
      <dgm:spPr/>
    </dgm:pt>
    <dgm:pt modelId="{C850A461-D313-4954-BFB5-B7C867EF3BF7}" type="pres">
      <dgm:prSet presAssocID="{831EB9B5-1746-4E48-9CDE-4A2603D28CA7}" presName="rootComposite" presStyleCnt="0"/>
      <dgm:spPr/>
    </dgm:pt>
    <dgm:pt modelId="{4866D584-2985-4591-A5A4-DD3473F07AA4}" type="pres">
      <dgm:prSet presAssocID="{831EB9B5-1746-4E48-9CDE-4A2603D28CA7}" presName="rootText" presStyleLbl="node3" presStyleIdx="8" presStyleCnt="17" custScaleX="71159" custScaleY="73255">
        <dgm:presLayoutVars>
          <dgm:chPref val="3"/>
        </dgm:presLayoutVars>
      </dgm:prSet>
      <dgm:spPr>
        <a:xfrm>
          <a:off x="4664407" y="2964081"/>
          <a:ext cx="1044005" cy="443266"/>
        </a:xfrm>
        <a:prstGeom prst="rect">
          <a:avLst/>
        </a:prstGeom>
      </dgm:spPr>
    </dgm:pt>
    <dgm:pt modelId="{7F034C3A-58FD-4DF4-BB0E-2631E2904942}" type="pres">
      <dgm:prSet presAssocID="{831EB9B5-1746-4E48-9CDE-4A2603D28CA7}" presName="rootConnector" presStyleLbl="node3" presStyleIdx="8" presStyleCnt="17"/>
      <dgm:spPr/>
    </dgm:pt>
    <dgm:pt modelId="{33A14458-C4A0-42E0-A95A-8A39005D83F9}" type="pres">
      <dgm:prSet presAssocID="{831EB9B5-1746-4E48-9CDE-4A2603D28CA7}" presName="hierChild4" presStyleCnt="0"/>
      <dgm:spPr/>
    </dgm:pt>
    <dgm:pt modelId="{B4297292-87E8-4D1F-9416-244764E5D188}" type="pres">
      <dgm:prSet presAssocID="{831EB9B5-1746-4E48-9CDE-4A2603D28CA7}" presName="hierChild5" presStyleCnt="0"/>
      <dgm:spPr/>
    </dgm:pt>
    <dgm:pt modelId="{98380853-91E8-4A2D-9DF6-1C674B88151B}" type="pres">
      <dgm:prSet presAssocID="{77A7CD76-5F3D-4D92-B8A6-638CCFA4154D}" presName="hierChild5" presStyleCnt="0"/>
      <dgm:spPr/>
    </dgm:pt>
    <dgm:pt modelId="{FC9075DC-35EA-4A61-813F-93731E7D5A67}" type="pres">
      <dgm:prSet presAssocID="{44CD108C-88B5-4C4E-9360-317BA0583AD4}" presName="Name37" presStyleLbl="parChTrans1D2" presStyleIdx="4" presStyleCnt="9"/>
      <dgm:spPr/>
    </dgm:pt>
    <dgm:pt modelId="{97E4201C-30EC-4553-B5B1-2B3B13EB6209}" type="pres">
      <dgm:prSet presAssocID="{D6777E0A-4B00-4391-B9CC-1D598A4344EE}" presName="hierRoot2" presStyleCnt="0">
        <dgm:presLayoutVars>
          <dgm:hierBranch val="init"/>
        </dgm:presLayoutVars>
      </dgm:prSet>
      <dgm:spPr/>
    </dgm:pt>
    <dgm:pt modelId="{DA86A801-6340-4AF7-B49E-2CFABCF9B599}" type="pres">
      <dgm:prSet presAssocID="{D6777E0A-4B00-4391-B9CC-1D598A4344EE}" presName="rootComposite" presStyleCnt="0"/>
      <dgm:spPr/>
    </dgm:pt>
    <dgm:pt modelId="{368C8B65-E41D-482C-9B21-EBE85602CE43}" type="pres">
      <dgm:prSet presAssocID="{D6777E0A-4B00-4391-B9CC-1D598A4344EE}" presName="rootText" presStyleLbl="node2" presStyleIdx="4" presStyleCnt="7" custScaleX="71159" custScaleY="73255">
        <dgm:presLayoutVars>
          <dgm:chPref val="3"/>
        </dgm:presLayoutVars>
      </dgm:prSet>
      <dgm:spPr/>
    </dgm:pt>
    <dgm:pt modelId="{72FF2892-EDDC-4593-94FE-E2A6A1D0D788}" type="pres">
      <dgm:prSet presAssocID="{D6777E0A-4B00-4391-B9CC-1D598A4344EE}" presName="rootConnector" presStyleLbl="node2" presStyleIdx="4" presStyleCnt="7"/>
      <dgm:spPr/>
    </dgm:pt>
    <dgm:pt modelId="{004DC47B-DCEA-41B4-A642-47A0AEC6362A}" type="pres">
      <dgm:prSet presAssocID="{D6777E0A-4B00-4391-B9CC-1D598A4344EE}" presName="hierChild4" presStyleCnt="0"/>
      <dgm:spPr/>
    </dgm:pt>
    <dgm:pt modelId="{8A8E57CA-10F5-473F-81B5-C0CB20CA8100}" type="pres">
      <dgm:prSet presAssocID="{C3B84D17-2544-4E8C-BD38-5FF60BBA92BF}" presName="Name37" presStyleLbl="parChTrans1D3" presStyleIdx="9" presStyleCnt="17"/>
      <dgm:spPr/>
    </dgm:pt>
    <dgm:pt modelId="{E708EBF4-F74C-4AC8-A20F-4D1D86FA2A33}" type="pres">
      <dgm:prSet presAssocID="{33FD494B-2DCC-41A6-993A-A9457FB3888A}" presName="hierRoot2" presStyleCnt="0">
        <dgm:presLayoutVars>
          <dgm:hierBranch val="init"/>
        </dgm:presLayoutVars>
      </dgm:prSet>
      <dgm:spPr/>
    </dgm:pt>
    <dgm:pt modelId="{B4F2BEBD-B684-448F-8207-AD66B5DAA925}" type="pres">
      <dgm:prSet presAssocID="{33FD494B-2DCC-41A6-993A-A9457FB3888A}" presName="rootComposite" presStyleCnt="0"/>
      <dgm:spPr/>
    </dgm:pt>
    <dgm:pt modelId="{0343E82B-C6F1-48DA-B486-FE99E239E281}" type="pres">
      <dgm:prSet presAssocID="{33FD494B-2DCC-41A6-993A-A9457FB3888A}" presName="rootText" presStyleLbl="node3" presStyleIdx="9" presStyleCnt="17" custScaleX="71159" custScaleY="73255">
        <dgm:presLayoutVars>
          <dgm:chPref val="3"/>
        </dgm:presLayoutVars>
      </dgm:prSet>
      <dgm:spPr/>
    </dgm:pt>
    <dgm:pt modelId="{013D0CD7-46DA-4A6D-9BAD-E6FE3B4D28F6}" type="pres">
      <dgm:prSet presAssocID="{33FD494B-2DCC-41A6-993A-A9457FB3888A}" presName="rootConnector" presStyleLbl="node3" presStyleIdx="9" presStyleCnt="17"/>
      <dgm:spPr/>
    </dgm:pt>
    <dgm:pt modelId="{FC6F1FEC-CD57-4549-A519-DEDBFF4657C6}" type="pres">
      <dgm:prSet presAssocID="{33FD494B-2DCC-41A6-993A-A9457FB3888A}" presName="hierChild4" presStyleCnt="0"/>
      <dgm:spPr/>
    </dgm:pt>
    <dgm:pt modelId="{415618EF-AC17-4B2B-8B70-82476263D382}" type="pres">
      <dgm:prSet presAssocID="{33FD494B-2DCC-41A6-993A-A9457FB3888A}" presName="hierChild5" presStyleCnt="0"/>
      <dgm:spPr/>
    </dgm:pt>
    <dgm:pt modelId="{9545F10F-0187-4226-B129-6A06FC3DF3A3}" type="pres">
      <dgm:prSet presAssocID="{216FCFB8-80A1-4CA9-81DA-64B20F1F213A}" presName="Name37" presStyleLbl="parChTrans1D3" presStyleIdx="10" presStyleCnt="17"/>
      <dgm:spPr/>
    </dgm:pt>
    <dgm:pt modelId="{4D6ED255-9349-4755-A354-034D718506BD}" type="pres">
      <dgm:prSet presAssocID="{D9C5A013-84BE-4DD8-AD7A-93BBFBDA0686}" presName="hierRoot2" presStyleCnt="0">
        <dgm:presLayoutVars>
          <dgm:hierBranch val="init"/>
        </dgm:presLayoutVars>
      </dgm:prSet>
      <dgm:spPr/>
    </dgm:pt>
    <dgm:pt modelId="{3D0DFA10-7F39-4DAD-99E4-2D99CC70C9DA}" type="pres">
      <dgm:prSet presAssocID="{D9C5A013-84BE-4DD8-AD7A-93BBFBDA0686}" presName="rootComposite" presStyleCnt="0"/>
      <dgm:spPr/>
    </dgm:pt>
    <dgm:pt modelId="{14ACAB7D-6C11-403C-8CB1-BF18E2CF0E5B}" type="pres">
      <dgm:prSet presAssocID="{D9C5A013-84BE-4DD8-AD7A-93BBFBDA0686}" presName="rootText" presStyleLbl="node3" presStyleIdx="10" presStyleCnt="17" custScaleX="71159" custScaleY="73255">
        <dgm:presLayoutVars>
          <dgm:chPref val="3"/>
        </dgm:presLayoutVars>
      </dgm:prSet>
      <dgm:spPr/>
    </dgm:pt>
    <dgm:pt modelId="{B226F9F0-541F-4BCA-B9F1-7EFE82535BFC}" type="pres">
      <dgm:prSet presAssocID="{D9C5A013-84BE-4DD8-AD7A-93BBFBDA0686}" presName="rootConnector" presStyleLbl="node3" presStyleIdx="10" presStyleCnt="17"/>
      <dgm:spPr/>
    </dgm:pt>
    <dgm:pt modelId="{1B31C5D6-F3DA-4F1D-A1F2-289A9835944E}" type="pres">
      <dgm:prSet presAssocID="{D9C5A013-84BE-4DD8-AD7A-93BBFBDA0686}" presName="hierChild4" presStyleCnt="0"/>
      <dgm:spPr/>
    </dgm:pt>
    <dgm:pt modelId="{B8A27986-9792-4BF1-92D3-EEB904F57179}" type="pres">
      <dgm:prSet presAssocID="{D9C5A013-84BE-4DD8-AD7A-93BBFBDA0686}" presName="hierChild5" presStyleCnt="0"/>
      <dgm:spPr/>
    </dgm:pt>
    <dgm:pt modelId="{1F9F1541-9F67-402C-B5F2-9C5127185ECD}" type="pres">
      <dgm:prSet presAssocID="{D6777E0A-4B00-4391-B9CC-1D598A4344EE}" presName="hierChild5" presStyleCnt="0"/>
      <dgm:spPr/>
    </dgm:pt>
    <dgm:pt modelId="{ECB6D82A-6A8A-432A-A1E5-89CEFA866224}" type="pres">
      <dgm:prSet presAssocID="{08BCF85E-9CD4-4FD9-85AE-D73AF32E97E3}" presName="Name37" presStyleLbl="parChTrans1D2" presStyleIdx="5" presStyleCnt="9"/>
      <dgm:spPr/>
    </dgm:pt>
    <dgm:pt modelId="{EC9F9747-599E-4432-AB8B-D51E6EAC0B92}" type="pres">
      <dgm:prSet presAssocID="{1A3F2F0D-B4EB-468A-B45E-42CC69EF3D47}" presName="hierRoot2" presStyleCnt="0">
        <dgm:presLayoutVars>
          <dgm:hierBranch val="init"/>
        </dgm:presLayoutVars>
      </dgm:prSet>
      <dgm:spPr/>
    </dgm:pt>
    <dgm:pt modelId="{A09BDBFE-6ED3-4908-8DA9-94486218CFC2}" type="pres">
      <dgm:prSet presAssocID="{1A3F2F0D-B4EB-468A-B45E-42CC69EF3D47}" presName="rootComposite" presStyleCnt="0"/>
      <dgm:spPr/>
    </dgm:pt>
    <dgm:pt modelId="{E84F247F-0397-425B-823B-16B33C324032}" type="pres">
      <dgm:prSet presAssocID="{1A3F2F0D-B4EB-468A-B45E-42CC69EF3D47}" presName="rootText" presStyleLbl="node2" presStyleIdx="5" presStyleCnt="7" custScaleX="71159" custScaleY="73255">
        <dgm:presLayoutVars>
          <dgm:chPref val="3"/>
        </dgm:presLayoutVars>
      </dgm:prSet>
      <dgm:spPr/>
    </dgm:pt>
    <dgm:pt modelId="{7EA7BB40-454A-4663-BE76-09A6EE6A4229}" type="pres">
      <dgm:prSet presAssocID="{1A3F2F0D-B4EB-468A-B45E-42CC69EF3D47}" presName="rootConnector" presStyleLbl="node2" presStyleIdx="5" presStyleCnt="7"/>
      <dgm:spPr/>
    </dgm:pt>
    <dgm:pt modelId="{E38CE9B0-12BA-4C29-B752-B62F0AAB549D}" type="pres">
      <dgm:prSet presAssocID="{1A3F2F0D-B4EB-468A-B45E-42CC69EF3D47}" presName="hierChild4" presStyleCnt="0"/>
      <dgm:spPr/>
    </dgm:pt>
    <dgm:pt modelId="{C0C1734D-79E4-4D26-9F8E-78EED392BD27}" type="pres">
      <dgm:prSet presAssocID="{8116A0EB-E7F0-4FC2-BCFD-837F30917FE5}" presName="Name37" presStyleLbl="parChTrans1D3" presStyleIdx="11" presStyleCnt="17"/>
      <dgm:spPr/>
    </dgm:pt>
    <dgm:pt modelId="{26C7AB6C-4545-479F-821F-0F43A2F26645}" type="pres">
      <dgm:prSet presAssocID="{085D528F-2329-4808-A58C-6BAB5D271CA3}" presName="hierRoot2" presStyleCnt="0">
        <dgm:presLayoutVars>
          <dgm:hierBranch val="init"/>
        </dgm:presLayoutVars>
      </dgm:prSet>
      <dgm:spPr/>
    </dgm:pt>
    <dgm:pt modelId="{DCBB3FD3-AFF8-4C57-A910-60E0374E513B}" type="pres">
      <dgm:prSet presAssocID="{085D528F-2329-4808-A58C-6BAB5D271CA3}" presName="rootComposite" presStyleCnt="0"/>
      <dgm:spPr/>
    </dgm:pt>
    <dgm:pt modelId="{EC369270-0B96-4B44-A704-B07257F79DD2}" type="pres">
      <dgm:prSet presAssocID="{085D528F-2329-4808-A58C-6BAB5D271CA3}" presName="rootText" presStyleLbl="node3" presStyleIdx="11" presStyleCnt="17" custScaleX="71159" custScaleY="73255">
        <dgm:presLayoutVars>
          <dgm:chPref val="3"/>
        </dgm:presLayoutVars>
      </dgm:prSet>
      <dgm:spPr/>
    </dgm:pt>
    <dgm:pt modelId="{7D4E5564-99CC-49A4-B768-548321438AF3}" type="pres">
      <dgm:prSet presAssocID="{085D528F-2329-4808-A58C-6BAB5D271CA3}" presName="rootConnector" presStyleLbl="node3" presStyleIdx="11" presStyleCnt="17"/>
      <dgm:spPr/>
    </dgm:pt>
    <dgm:pt modelId="{57C91A8F-71A1-42AF-9ADD-C438E4D79E0C}" type="pres">
      <dgm:prSet presAssocID="{085D528F-2329-4808-A58C-6BAB5D271CA3}" presName="hierChild4" presStyleCnt="0"/>
      <dgm:spPr/>
    </dgm:pt>
    <dgm:pt modelId="{97574F19-EC3C-4A35-A3E1-A0839F055C7D}" type="pres">
      <dgm:prSet presAssocID="{085D528F-2329-4808-A58C-6BAB5D271CA3}" presName="hierChild5" presStyleCnt="0"/>
      <dgm:spPr/>
    </dgm:pt>
    <dgm:pt modelId="{A8BD005A-13B6-4419-B7CE-1E994173B159}" type="pres">
      <dgm:prSet presAssocID="{3FAF8054-E587-4EC0-B397-59640782D99A}" presName="Name37" presStyleLbl="parChTrans1D3" presStyleIdx="12" presStyleCnt="17"/>
      <dgm:spPr/>
    </dgm:pt>
    <dgm:pt modelId="{15989BAA-3CE2-49B7-AF80-232491F63EE9}" type="pres">
      <dgm:prSet presAssocID="{79F04F0D-ACA8-47A5-A709-C27737166C1A}" presName="hierRoot2" presStyleCnt="0">
        <dgm:presLayoutVars>
          <dgm:hierBranch val="init"/>
        </dgm:presLayoutVars>
      </dgm:prSet>
      <dgm:spPr/>
    </dgm:pt>
    <dgm:pt modelId="{086F5042-C129-47B1-9576-097506531598}" type="pres">
      <dgm:prSet presAssocID="{79F04F0D-ACA8-47A5-A709-C27737166C1A}" presName="rootComposite" presStyleCnt="0"/>
      <dgm:spPr/>
    </dgm:pt>
    <dgm:pt modelId="{CAA10B07-C1CF-457F-B784-6B2E3C1FF820}" type="pres">
      <dgm:prSet presAssocID="{79F04F0D-ACA8-47A5-A709-C27737166C1A}" presName="rootText" presStyleLbl="node3" presStyleIdx="12" presStyleCnt="17" custScaleX="71159" custScaleY="73255">
        <dgm:presLayoutVars>
          <dgm:chPref val="3"/>
        </dgm:presLayoutVars>
      </dgm:prSet>
      <dgm:spPr/>
    </dgm:pt>
    <dgm:pt modelId="{0F2E3CF4-54D6-4AC1-A82A-B2FE09D823BA}" type="pres">
      <dgm:prSet presAssocID="{79F04F0D-ACA8-47A5-A709-C27737166C1A}" presName="rootConnector" presStyleLbl="node3" presStyleIdx="12" presStyleCnt="17"/>
      <dgm:spPr/>
    </dgm:pt>
    <dgm:pt modelId="{311B4D91-4FE6-4916-85FC-C904AA087CF8}" type="pres">
      <dgm:prSet presAssocID="{79F04F0D-ACA8-47A5-A709-C27737166C1A}" presName="hierChild4" presStyleCnt="0"/>
      <dgm:spPr/>
    </dgm:pt>
    <dgm:pt modelId="{EE02BA91-A73B-48FA-BB18-26B5161D8880}" type="pres">
      <dgm:prSet presAssocID="{79F04F0D-ACA8-47A5-A709-C27737166C1A}" presName="hierChild5" presStyleCnt="0"/>
      <dgm:spPr/>
    </dgm:pt>
    <dgm:pt modelId="{E6632782-304F-4302-A23A-7153ACECFF57}" type="pres">
      <dgm:prSet presAssocID="{1A3F2F0D-B4EB-468A-B45E-42CC69EF3D47}" presName="hierChild5" presStyleCnt="0"/>
      <dgm:spPr/>
    </dgm:pt>
    <dgm:pt modelId="{1ED42500-912C-4715-A9D0-0074992F1B0F}" type="pres">
      <dgm:prSet presAssocID="{1416C8C4-3451-47B9-9D88-C0DF2E46CB97}" presName="Name37" presStyleLbl="parChTrans1D2" presStyleIdx="6" presStyleCnt="9"/>
      <dgm:spPr/>
    </dgm:pt>
    <dgm:pt modelId="{783BC498-CC0A-4FC0-B52D-3665997B0775}" type="pres">
      <dgm:prSet presAssocID="{ECB17B0B-D920-43D6-B1A7-3190DC484434}" presName="hierRoot2" presStyleCnt="0">
        <dgm:presLayoutVars>
          <dgm:hierBranch val="init"/>
        </dgm:presLayoutVars>
      </dgm:prSet>
      <dgm:spPr/>
    </dgm:pt>
    <dgm:pt modelId="{19EE82E1-40B4-4365-BB3E-12713EA3374A}" type="pres">
      <dgm:prSet presAssocID="{ECB17B0B-D920-43D6-B1A7-3190DC484434}" presName="rootComposite" presStyleCnt="0"/>
      <dgm:spPr/>
    </dgm:pt>
    <dgm:pt modelId="{462A7BCE-C227-4277-9437-A99CC96A5257}" type="pres">
      <dgm:prSet presAssocID="{ECB17B0B-D920-43D6-B1A7-3190DC484434}" presName="rootText" presStyleLbl="node2" presStyleIdx="6" presStyleCnt="7" custScaleX="71159" custScaleY="73255">
        <dgm:presLayoutVars>
          <dgm:chPref val="3"/>
        </dgm:presLayoutVars>
      </dgm:prSet>
      <dgm:spPr/>
    </dgm:pt>
    <dgm:pt modelId="{80C6BAC8-E013-410E-8324-BCA921A04321}" type="pres">
      <dgm:prSet presAssocID="{ECB17B0B-D920-43D6-B1A7-3190DC484434}" presName="rootConnector" presStyleLbl="node2" presStyleIdx="6" presStyleCnt="7"/>
      <dgm:spPr/>
    </dgm:pt>
    <dgm:pt modelId="{C6D676D4-92BB-452E-B9B0-5383FE13FF7C}" type="pres">
      <dgm:prSet presAssocID="{ECB17B0B-D920-43D6-B1A7-3190DC484434}" presName="hierChild4" presStyleCnt="0"/>
      <dgm:spPr/>
    </dgm:pt>
    <dgm:pt modelId="{C5FAED33-EE50-4109-BAA0-0646053E8180}" type="pres">
      <dgm:prSet presAssocID="{3FE7F073-D702-4DBF-99FD-8E2FDB39115E}" presName="Name37" presStyleLbl="parChTrans1D3" presStyleIdx="13" presStyleCnt="17"/>
      <dgm:spPr/>
    </dgm:pt>
    <dgm:pt modelId="{5E367080-A21E-4FDF-B035-E4EDE774911A}" type="pres">
      <dgm:prSet presAssocID="{132B66C8-BB57-42C5-8754-325880351D47}" presName="hierRoot2" presStyleCnt="0">
        <dgm:presLayoutVars>
          <dgm:hierBranch val="init"/>
        </dgm:presLayoutVars>
      </dgm:prSet>
      <dgm:spPr/>
    </dgm:pt>
    <dgm:pt modelId="{E7E14CF5-AF7E-49AC-B2F0-C52B38D5F5C3}" type="pres">
      <dgm:prSet presAssocID="{132B66C8-BB57-42C5-8754-325880351D47}" presName="rootComposite" presStyleCnt="0"/>
      <dgm:spPr/>
    </dgm:pt>
    <dgm:pt modelId="{2B96D054-8CF5-42B7-B150-A83AECB6A757}" type="pres">
      <dgm:prSet presAssocID="{132B66C8-BB57-42C5-8754-325880351D47}" presName="rootText" presStyleLbl="node3" presStyleIdx="13" presStyleCnt="17" custScaleX="71159" custScaleY="73255">
        <dgm:presLayoutVars>
          <dgm:chPref val="3"/>
        </dgm:presLayoutVars>
      </dgm:prSet>
      <dgm:spPr/>
    </dgm:pt>
    <dgm:pt modelId="{3C675C3B-CD93-4115-8E8E-438206F8C0F9}" type="pres">
      <dgm:prSet presAssocID="{132B66C8-BB57-42C5-8754-325880351D47}" presName="rootConnector" presStyleLbl="node3" presStyleIdx="13" presStyleCnt="17"/>
      <dgm:spPr/>
    </dgm:pt>
    <dgm:pt modelId="{1E6BC014-708A-4F82-AC8D-A9EE16230EE0}" type="pres">
      <dgm:prSet presAssocID="{132B66C8-BB57-42C5-8754-325880351D47}" presName="hierChild4" presStyleCnt="0"/>
      <dgm:spPr/>
    </dgm:pt>
    <dgm:pt modelId="{A1882686-E1DE-4994-87DA-9207B10B84F9}" type="pres">
      <dgm:prSet presAssocID="{132B66C8-BB57-42C5-8754-325880351D47}" presName="hierChild5" presStyleCnt="0"/>
      <dgm:spPr/>
    </dgm:pt>
    <dgm:pt modelId="{2E923624-FD1D-48AE-ACC7-34D29C06564F}" type="pres">
      <dgm:prSet presAssocID="{5626CC66-D1F2-40A6-84A6-D4E1348AE853}" presName="Name37" presStyleLbl="parChTrans1D3" presStyleIdx="14" presStyleCnt="17"/>
      <dgm:spPr/>
    </dgm:pt>
    <dgm:pt modelId="{E4288D62-076E-48DD-9EF5-A1F420420367}" type="pres">
      <dgm:prSet presAssocID="{799FC193-E628-476D-994C-D5D57722115D}" presName="hierRoot2" presStyleCnt="0">
        <dgm:presLayoutVars>
          <dgm:hierBranch val="init"/>
        </dgm:presLayoutVars>
      </dgm:prSet>
      <dgm:spPr/>
    </dgm:pt>
    <dgm:pt modelId="{522CB6BC-D969-467E-BEE5-03D4CAA76163}" type="pres">
      <dgm:prSet presAssocID="{799FC193-E628-476D-994C-D5D57722115D}" presName="rootComposite" presStyleCnt="0"/>
      <dgm:spPr/>
    </dgm:pt>
    <dgm:pt modelId="{F9710AF4-954F-4A82-B7F7-21E813551464}" type="pres">
      <dgm:prSet presAssocID="{799FC193-E628-476D-994C-D5D57722115D}" presName="rootText" presStyleLbl="node3" presStyleIdx="14" presStyleCnt="17" custScaleX="71159" custScaleY="73255">
        <dgm:presLayoutVars>
          <dgm:chPref val="3"/>
        </dgm:presLayoutVars>
      </dgm:prSet>
      <dgm:spPr/>
    </dgm:pt>
    <dgm:pt modelId="{5B118D3B-78DF-4FA8-A9BD-32892B53E0A6}" type="pres">
      <dgm:prSet presAssocID="{799FC193-E628-476D-994C-D5D57722115D}" presName="rootConnector" presStyleLbl="node3" presStyleIdx="14" presStyleCnt="17"/>
      <dgm:spPr/>
    </dgm:pt>
    <dgm:pt modelId="{3BEB5C43-A7D6-44CE-B946-B5219657F3C1}" type="pres">
      <dgm:prSet presAssocID="{799FC193-E628-476D-994C-D5D57722115D}" presName="hierChild4" presStyleCnt="0"/>
      <dgm:spPr/>
    </dgm:pt>
    <dgm:pt modelId="{0778934F-60D8-4C0D-AEBB-FE04C1EED02C}" type="pres">
      <dgm:prSet presAssocID="{799FC193-E628-476D-994C-D5D57722115D}" presName="hierChild5" presStyleCnt="0"/>
      <dgm:spPr/>
    </dgm:pt>
    <dgm:pt modelId="{07A20742-FBDD-4022-A0AA-DB7D506A479A}" type="pres">
      <dgm:prSet presAssocID="{77977417-3357-4110-8E97-E9ABA68BF184}" presName="Name37" presStyleLbl="parChTrans1D3" presStyleIdx="15" presStyleCnt="17"/>
      <dgm:spPr/>
    </dgm:pt>
    <dgm:pt modelId="{52136D02-E28D-4FD1-B12F-E9361B04BA90}" type="pres">
      <dgm:prSet presAssocID="{3C5609AA-9AC4-4D3A-A3D1-C86ADD8FD537}" presName="hierRoot2" presStyleCnt="0">
        <dgm:presLayoutVars>
          <dgm:hierBranch val="init"/>
        </dgm:presLayoutVars>
      </dgm:prSet>
      <dgm:spPr/>
    </dgm:pt>
    <dgm:pt modelId="{2BAEE663-4C88-4E33-B598-FDECE1D76056}" type="pres">
      <dgm:prSet presAssocID="{3C5609AA-9AC4-4D3A-A3D1-C86ADD8FD537}" presName="rootComposite" presStyleCnt="0"/>
      <dgm:spPr/>
    </dgm:pt>
    <dgm:pt modelId="{3E2BB393-FF31-44C4-80ED-644420E5C84C}" type="pres">
      <dgm:prSet presAssocID="{3C5609AA-9AC4-4D3A-A3D1-C86ADD8FD537}" presName="rootText" presStyleLbl="node3" presStyleIdx="15" presStyleCnt="17" custScaleX="71159" custScaleY="73255">
        <dgm:presLayoutVars>
          <dgm:chPref val="3"/>
        </dgm:presLayoutVars>
      </dgm:prSet>
      <dgm:spPr/>
    </dgm:pt>
    <dgm:pt modelId="{91E537DF-B60C-4CD1-8622-36A2D0DE6575}" type="pres">
      <dgm:prSet presAssocID="{3C5609AA-9AC4-4D3A-A3D1-C86ADD8FD537}" presName="rootConnector" presStyleLbl="node3" presStyleIdx="15" presStyleCnt="17"/>
      <dgm:spPr/>
    </dgm:pt>
    <dgm:pt modelId="{A9F5658B-FDF3-4283-9FC2-5D7C08BDFD52}" type="pres">
      <dgm:prSet presAssocID="{3C5609AA-9AC4-4D3A-A3D1-C86ADD8FD537}" presName="hierChild4" presStyleCnt="0"/>
      <dgm:spPr/>
    </dgm:pt>
    <dgm:pt modelId="{396148E0-6F72-47BB-A3A5-586D1B290C8C}" type="pres">
      <dgm:prSet presAssocID="{3C5609AA-9AC4-4D3A-A3D1-C86ADD8FD537}" presName="hierChild5" presStyleCnt="0"/>
      <dgm:spPr/>
    </dgm:pt>
    <dgm:pt modelId="{521AF49D-5E3F-4FA0-9028-A595FBC4BA63}" type="pres">
      <dgm:prSet presAssocID="{505B21EF-E62D-471D-B766-DB7F8CD61D6F}" presName="Name37" presStyleLbl="parChTrans1D3" presStyleIdx="16" presStyleCnt="17"/>
      <dgm:spPr/>
    </dgm:pt>
    <dgm:pt modelId="{FA3ED60B-60D7-410D-BE4C-F7B079E6A54D}" type="pres">
      <dgm:prSet presAssocID="{AF72E00F-DFCF-4111-A5F1-89A3023FD81D}" presName="hierRoot2" presStyleCnt="0">
        <dgm:presLayoutVars>
          <dgm:hierBranch val="init"/>
        </dgm:presLayoutVars>
      </dgm:prSet>
      <dgm:spPr/>
    </dgm:pt>
    <dgm:pt modelId="{9C7877C4-4CC9-4D46-B564-302FE1F3EB8A}" type="pres">
      <dgm:prSet presAssocID="{AF72E00F-DFCF-4111-A5F1-89A3023FD81D}" presName="rootComposite" presStyleCnt="0"/>
      <dgm:spPr/>
    </dgm:pt>
    <dgm:pt modelId="{D5103497-1B54-43E8-8200-478661CC0DA5}" type="pres">
      <dgm:prSet presAssocID="{AF72E00F-DFCF-4111-A5F1-89A3023FD81D}" presName="rootText" presStyleLbl="node3" presStyleIdx="16" presStyleCnt="17" custScaleX="71159" custScaleY="73255">
        <dgm:presLayoutVars>
          <dgm:chPref val="3"/>
        </dgm:presLayoutVars>
      </dgm:prSet>
      <dgm:spPr/>
    </dgm:pt>
    <dgm:pt modelId="{3D4942B9-B885-46EC-8853-811F5C174A29}" type="pres">
      <dgm:prSet presAssocID="{AF72E00F-DFCF-4111-A5F1-89A3023FD81D}" presName="rootConnector" presStyleLbl="node3" presStyleIdx="16" presStyleCnt="17"/>
      <dgm:spPr/>
    </dgm:pt>
    <dgm:pt modelId="{8D6A12CB-F5C4-4AA7-A0B9-86FEC3D43935}" type="pres">
      <dgm:prSet presAssocID="{AF72E00F-DFCF-4111-A5F1-89A3023FD81D}" presName="hierChild4" presStyleCnt="0"/>
      <dgm:spPr/>
    </dgm:pt>
    <dgm:pt modelId="{00C8E673-76B8-4701-B387-D2B53522315C}" type="pres">
      <dgm:prSet presAssocID="{AF72E00F-DFCF-4111-A5F1-89A3023FD81D}" presName="hierChild5" presStyleCnt="0"/>
      <dgm:spPr/>
    </dgm:pt>
    <dgm:pt modelId="{FB96D737-4157-40E5-BA46-F774B0E51183}" type="pres">
      <dgm:prSet presAssocID="{ECB17B0B-D920-43D6-B1A7-3190DC484434}" presName="hierChild5" presStyleCnt="0"/>
      <dgm:spPr/>
    </dgm:pt>
    <dgm:pt modelId="{830F155A-6B26-4072-B001-029A2485377A}" type="pres">
      <dgm:prSet presAssocID="{6DFC5AE2-6E7C-4917-8057-5C74705D9D9D}" presName="hierChild3" presStyleCnt="0"/>
      <dgm:spPr/>
    </dgm:pt>
    <dgm:pt modelId="{2822494F-E59A-467F-8D56-B9324C86E101}" type="pres">
      <dgm:prSet presAssocID="{3697862F-261E-4560-8B2D-9589D24FBAAF}" presName="Name111" presStyleLbl="parChTrans1D2" presStyleIdx="7" presStyleCnt="9"/>
      <dgm:spPr/>
    </dgm:pt>
    <dgm:pt modelId="{5005E1D8-4A70-4ED4-89CD-42EB078F9584}" type="pres">
      <dgm:prSet presAssocID="{2875B079-C6CD-432E-8859-5F7ABFD6CF18}" presName="hierRoot3" presStyleCnt="0">
        <dgm:presLayoutVars>
          <dgm:hierBranch val="init"/>
        </dgm:presLayoutVars>
      </dgm:prSet>
      <dgm:spPr/>
    </dgm:pt>
    <dgm:pt modelId="{EA4799F5-CE39-4BA4-9931-35D818EF1CB9}" type="pres">
      <dgm:prSet presAssocID="{2875B079-C6CD-432E-8859-5F7ABFD6CF18}" presName="rootComposite3" presStyleCnt="0"/>
      <dgm:spPr/>
    </dgm:pt>
    <dgm:pt modelId="{A07D5470-FA21-43EA-BEE9-75BAF74C1A11}" type="pres">
      <dgm:prSet presAssocID="{2875B079-C6CD-432E-8859-5F7ABFD6CF18}" presName="rootText3" presStyleLbl="asst1" presStyleIdx="0" presStyleCnt="2" custScaleX="71159" custScaleY="73255">
        <dgm:presLayoutVars>
          <dgm:chPref val="3"/>
        </dgm:presLayoutVars>
      </dgm:prSet>
      <dgm:spPr/>
    </dgm:pt>
    <dgm:pt modelId="{77B18C0E-78FB-49E4-9546-9F78EC3047D6}" type="pres">
      <dgm:prSet presAssocID="{2875B079-C6CD-432E-8859-5F7ABFD6CF18}" presName="rootConnector3" presStyleLbl="asst1" presStyleIdx="0" presStyleCnt="2"/>
      <dgm:spPr/>
    </dgm:pt>
    <dgm:pt modelId="{B1C8DE58-383A-41D0-BCD5-7AA70D480F2E}" type="pres">
      <dgm:prSet presAssocID="{2875B079-C6CD-432E-8859-5F7ABFD6CF18}" presName="hierChild6" presStyleCnt="0"/>
      <dgm:spPr/>
    </dgm:pt>
    <dgm:pt modelId="{333AB413-0029-4E15-989B-AEAEB1137CB2}" type="pres">
      <dgm:prSet presAssocID="{2875B079-C6CD-432E-8859-5F7ABFD6CF18}" presName="hierChild7" presStyleCnt="0"/>
      <dgm:spPr/>
    </dgm:pt>
    <dgm:pt modelId="{42DA4DB7-4FBF-491B-909E-535821CB9AF8}" type="pres">
      <dgm:prSet presAssocID="{43CE503E-198F-4A73-A0DB-D2D9098262C9}" presName="Name111" presStyleLbl="parChTrans1D2" presStyleIdx="8" presStyleCnt="9"/>
      <dgm:spPr/>
    </dgm:pt>
    <dgm:pt modelId="{899CE6F6-44D1-4E63-ACFF-FE8B06CA48FD}" type="pres">
      <dgm:prSet presAssocID="{8339AB11-0BB4-47A9-9FE4-FD533FA7D243}" presName="hierRoot3" presStyleCnt="0">
        <dgm:presLayoutVars>
          <dgm:hierBranch val="init"/>
        </dgm:presLayoutVars>
      </dgm:prSet>
      <dgm:spPr/>
    </dgm:pt>
    <dgm:pt modelId="{4A553CDA-80CE-44F3-809D-5EDDF37A87B6}" type="pres">
      <dgm:prSet presAssocID="{8339AB11-0BB4-47A9-9FE4-FD533FA7D243}" presName="rootComposite3" presStyleCnt="0"/>
      <dgm:spPr/>
    </dgm:pt>
    <dgm:pt modelId="{0C4E34C0-D74F-4ED8-ADAF-8EB2F65C2DED}" type="pres">
      <dgm:prSet presAssocID="{8339AB11-0BB4-47A9-9FE4-FD533FA7D243}" presName="rootText3" presStyleLbl="asst1" presStyleIdx="1" presStyleCnt="2" custScaleX="71159" custScaleY="73255">
        <dgm:presLayoutVars>
          <dgm:chPref val="3"/>
        </dgm:presLayoutVars>
      </dgm:prSet>
      <dgm:spPr>
        <a:prstGeom prst="rect">
          <a:avLst/>
        </a:prstGeom>
      </dgm:spPr>
    </dgm:pt>
    <dgm:pt modelId="{2E48DCE4-4783-43FF-B426-F2E35CEACD18}" type="pres">
      <dgm:prSet presAssocID="{8339AB11-0BB4-47A9-9FE4-FD533FA7D243}" presName="rootConnector3" presStyleLbl="asst1" presStyleIdx="1" presStyleCnt="2"/>
      <dgm:spPr/>
    </dgm:pt>
    <dgm:pt modelId="{B1AC0E02-95C9-41E9-A8A6-877FC1C1C6DE}" type="pres">
      <dgm:prSet presAssocID="{8339AB11-0BB4-47A9-9FE4-FD533FA7D243}" presName="hierChild6" presStyleCnt="0"/>
      <dgm:spPr/>
    </dgm:pt>
    <dgm:pt modelId="{0CD475AF-E26F-49C1-9BE1-567C646D0E5B}" type="pres">
      <dgm:prSet presAssocID="{8339AB11-0BB4-47A9-9FE4-FD533FA7D243}" presName="hierChild7" presStyleCnt="0"/>
      <dgm:spPr/>
    </dgm:pt>
  </dgm:ptLst>
  <dgm:cxnLst>
    <dgm:cxn modelId="{ECF26801-F8B6-4C60-BD2A-7FCF279BFEE4}" srcId="{6DFC5AE2-6E7C-4917-8057-5C74705D9D9D}" destId="{D6777E0A-4B00-4391-B9CC-1D598A4344EE}" srcOrd="4" destOrd="0" parTransId="{44CD108C-88B5-4C4E-9360-317BA0583AD4}" sibTransId="{2EA4F913-ECF2-4F21-942B-A783AAF66741}"/>
    <dgm:cxn modelId="{69F5D803-C263-4319-8D55-8DB1F3CE52E7}" type="presOf" srcId="{49E736A4-EE09-4020-8E56-985D249B1C83}" destId="{ABA5DDBC-F8BC-4BE9-AD91-D1060BA8EE3C}" srcOrd="0" destOrd="0" presId="urn:microsoft.com/office/officeart/2005/8/layout/orgChart1"/>
    <dgm:cxn modelId="{11035204-6F5F-4243-AFF0-08396B54AEDC}" type="presOf" srcId="{2875B079-C6CD-432E-8859-5F7ABFD6CF18}" destId="{A07D5470-FA21-43EA-BEE9-75BAF74C1A11}" srcOrd="0" destOrd="0" presId="urn:microsoft.com/office/officeart/2005/8/layout/orgChart1"/>
    <dgm:cxn modelId="{96A4D904-4ABC-4749-84A0-E4D968F6F273}" srcId="{4B9457D5-645A-4D31-9CED-EE0587DAC6A0}" destId="{C815A540-13E4-40BD-BAC9-82A9AB1F31B2}" srcOrd="0" destOrd="0" parTransId="{49E736A4-EE09-4020-8E56-985D249B1C83}" sibTransId="{BCECBDC1-4F43-4CFD-9A82-AED63B1D76D2}"/>
    <dgm:cxn modelId="{78FB8C06-1D61-479B-A81C-B412AAAB4426}" srcId="{ECB17B0B-D920-43D6-B1A7-3190DC484434}" destId="{AF72E00F-DFCF-4111-A5F1-89A3023FD81D}" srcOrd="3" destOrd="0" parTransId="{505B21EF-E62D-471D-B766-DB7F8CD61D6F}" sibTransId="{DF9ADDD3-A503-4DBB-91F5-5960D0294309}"/>
    <dgm:cxn modelId="{BB448108-F562-4EC2-91E1-2FD601A2CE9A}" type="presOf" srcId="{616219AB-E0E2-4CDA-B08C-9107B71FF357}" destId="{030185CE-4481-43C8-A97F-B68ECDF28FB7}" srcOrd="1" destOrd="0" presId="urn:microsoft.com/office/officeart/2005/8/layout/orgChart1"/>
    <dgm:cxn modelId="{DC08F011-1520-4C3B-BBB9-7BF9AE88BFD7}" type="presOf" srcId="{831EB9B5-1746-4E48-9CDE-4A2603D28CA7}" destId="{4866D584-2985-4591-A5A4-DD3473F07AA4}" srcOrd="0" destOrd="0" presId="urn:microsoft.com/office/officeart/2005/8/layout/orgChart1"/>
    <dgm:cxn modelId="{0875E815-79F2-4F65-9153-D0C548588FDB}" srcId="{1A3F2F0D-B4EB-468A-B45E-42CC69EF3D47}" destId="{085D528F-2329-4808-A58C-6BAB5D271CA3}" srcOrd="0" destOrd="0" parTransId="{8116A0EB-E7F0-4FC2-BCFD-837F30917FE5}" sibTransId="{D5147D5B-BDC3-4264-9913-0F2409871B87}"/>
    <dgm:cxn modelId="{07D4EA17-D128-4ADD-B01D-12B62E09BB5B}" type="presOf" srcId="{D9C5A013-84BE-4DD8-AD7A-93BBFBDA0686}" destId="{B226F9F0-541F-4BCA-B9F1-7EFE82535BFC}" srcOrd="1" destOrd="0" presId="urn:microsoft.com/office/officeart/2005/8/layout/orgChart1"/>
    <dgm:cxn modelId="{3C814B1B-9288-4272-AF6E-E35FC1507AE5}" type="presOf" srcId="{B853E9AB-0C4F-491F-BB69-017ABCF6B6C8}" destId="{EE691B9D-8A81-41C9-9537-6DD7A99DE0E3}" srcOrd="0" destOrd="0" presId="urn:microsoft.com/office/officeart/2005/8/layout/orgChart1"/>
    <dgm:cxn modelId="{540FDF1C-9CB2-4DE6-AC2D-870ADB881B04}" srcId="{6DFC5AE2-6E7C-4917-8057-5C74705D9D9D}" destId="{6BB1E951-30F9-4EAA-BF09-2B25774B896A}" srcOrd="1" destOrd="0" parTransId="{EDEA2C56-A004-4AF8-AA88-088BBFF12AAA}" sibTransId="{B3922A2B-E32B-4654-A333-DEE25C16D8DC}"/>
    <dgm:cxn modelId="{0F9E4D21-C975-4D54-B8EF-4D60FF9879F0}" type="presOf" srcId="{3C5609AA-9AC4-4D3A-A3D1-C86ADD8FD537}" destId="{3E2BB393-FF31-44C4-80ED-644420E5C84C}" srcOrd="0" destOrd="0" presId="urn:microsoft.com/office/officeart/2005/8/layout/orgChart1"/>
    <dgm:cxn modelId="{284AA028-EFBD-46BA-AA2A-55C5CEA88713}" type="presOf" srcId="{616219AB-E0E2-4CDA-B08C-9107B71FF357}" destId="{8DA62F6A-A266-46EF-9B5B-FF72031BCE00}" srcOrd="0" destOrd="0" presId="urn:microsoft.com/office/officeart/2005/8/layout/orgChart1"/>
    <dgm:cxn modelId="{5BE5982C-117B-4F73-BCD0-BE8ABCD83403}" srcId="{6DFC5AE2-6E7C-4917-8057-5C74705D9D9D}" destId="{1A3F2F0D-B4EB-468A-B45E-42CC69EF3D47}" srcOrd="5" destOrd="0" parTransId="{08BCF85E-9CD4-4FD9-85AE-D73AF32E97E3}" sibTransId="{1EBB6A86-A8AE-4C62-BDC8-26333A8EAE8F}"/>
    <dgm:cxn modelId="{11D0302D-0A68-4814-9EC9-56EAC4532E6F}" type="presOf" srcId="{6BB1E951-30F9-4EAA-BF09-2B25774B896A}" destId="{218C37B2-5284-4639-BA8F-8B45D3427503}" srcOrd="1" destOrd="0" presId="urn:microsoft.com/office/officeart/2005/8/layout/orgChart1"/>
    <dgm:cxn modelId="{0DF46F30-1C2F-493B-A8D3-78E12FC86587}" srcId="{6DFC5AE2-6E7C-4917-8057-5C74705D9D9D}" destId="{ECB17B0B-D920-43D6-B1A7-3190DC484434}" srcOrd="6" destOrd="0" parTransId="{1416C8C4-3451-47B9-9D88-C0DF2E46CB97}" sibTransId="{50E00778-3A0E-445D-B6F4-6FE7E1953F4E}"/>
    <dgm:cxn modelId="{1AAD9731-6A32-422F-AC90-35382876C897}" srcId="{FF43447B-6D2A-4E87-9776-A45F099068D6}" destId="{6DFC5AE2-6E7C-4917-8057-5C74705D9D9D}" srcOrd="0" destOrd="0" parTransId="{CEA235E7-053B-4B66-A724-AA8AD599C0A7}" sibTransId="{B67A109A-86AA-45A6-A697-C948A8F217F3}"/>
    <dgm:cxn modelId="{0B79DF33-E46B-4A08-8835-F2A591D7A670}" type="presOf" srcId="{2C0B4ECC-4BFC-4179-99DB-A697C1C4FE66}" destId="{591ABF03-CE86-46C4-849A-89551C938267}" srcOrd="1" destOrd="0" presId="urn:microsoft.com/office/officeart/2005/8/layout/orgChart1"/>
    <dgm:cxn modelId="{C9E4C139-CD0E-4C04-86C4-E290637A8DE1}" type="presOf" srcId="{6DFC5AE2-6E7C-4917-8057-5C74705D9D9D}" destId="{EFC88690-823F-4158-A029-566E82AD0A48}" srcOrd="0" destOrd="0" presId="urn:microsoft.com/office/officeart/2005/8/layout/orgChart1"/>
    <dgm:cxn modelId="{B1A8C63A-0A64-4B6D-A3BB-53569D1A1E0A}" type="presOf" srcId="{FF43447B-6D2A-4E87-9776-A45F099068D6}" destId="{323A3808-42AA-4B91-9D6C-C064E81C7121}" srcOrd="0" destOrd="0" presId="urn:microsoft.com/office/officeart/2005/8/layout/orgChart1"/>
    <dgm:cxn modelId="{49F0403B-C1A5-4F6F-9B41-ABF26D6576DC}" type="presOf" srcId="{931AB28D-3BA4-4B34-BA16-23DEAC2242FB}" destId="{2BE48818-742B-4442-A055-A0C57BB4DC0F}" srcOrd="0" destOrd="0" presId="urn:microsoft.com/office/officeart/2005/8/layout/orgChart1"/>
    <dgm:cxn modelId="{B4B0333C-24DC-49AC-9C1C-B6A156D7577C}" srcId="{6BB1E951-30F9-4EAA-BF09-2B25774B896A}" destId="{38D76C0D-BBF1-4814-9B13-CE727BA3B644}" srcOrd="1" destOrd="0" parTransId="{39511C94-1DF4-45AE-A5D1-7A679E88BD6A}" sibTransId="{60234E18-12BF-459B-ACA2-D0A353B4AF45}"/>
    <dgm:cxn modelId="{A4B8993E-1D9E-4AAF-A22E-96308022135A}" srcId="{6DFC5AE2-6E7C-4917-8057-5C74705D9D9D}" destId="{77A7CD76-5F3D-4D92-B8A6-638CCFA4154D}" srcOrd="3" destOrd="0" parTransId="{8DC24D90-7552-4B3E-80B7-AEC695C76EA4}" sibTransId="{DE4F29FA-05AB-4DC4-9D3C-7DCA9BDDFB87}"/>
    <dgm:cxn modelId="{03101646-A19E-40F0-973C-EE2150A9A9EF}" type="presOf" srcId="{931AB28D-3BA4-4B34-BA16-23DEAC2242FB}" destId="{318175A8-C883-4AB5-9991-3993CF5CEFC5}" srcOrd="1" destOrd="0" presId="urn:microsoft.com/office/officeart/2005/8/layout/orgChart1"/>
    <dgm:cxn modelId="{C2FCBD4A-56BA-4C88-82BB-FC6EF5173C44}" srcId="{77A7CD76-5F3D-4D92-B8A6-638CCFA4154D}" destId="{616219AB-E0E2-4CDA-B08C-9107B71FF357}" srcOrd="0" destOrd="0" parTransId="{BD9EA7ED-9A15-4511-979D-AC5DEEA1CD06}" sibTransId="{A155047B-296C-4CC5-9E4A-608F01774281}"/>
    <dgm:cxn modelId="{D1C93F4F-F407-481F-BF27-AC428CBFE31A}" type="presOf" srcId="{45743D59-2551-4361-8D4C-07FB0C033EEB}" destId="{13C1080A-0D0B-4DE3-9356-7FBC839A1717}" srcOrd="0" destOrd="0" presId="urn:microsoft.com/office/officeart/2005/8/layout/orgChart1"/>
    <dgm:cxn modelId="{0AAF1A52-A999-426B-ABA6-732D60B4AE29}" type="presOf" srcId="{8339AB11-0BB4-47A9-9FE4-FD533FA7D243}" destId="{2E48DCE4-4783-43FF-B426-F2E35CEACD18}" srcOrd="1" destOrd="0" presId="urn:microsoft.com/office/officeart/2005/8/layout/orgChart1"/>
    <dgm:cxn modelId="{5EAB2F54-D455-45AB-A43F-41A14C6B5FE1}" type="presOf" srcId="{C815A540-13E4-40BD-BAC9-82A9AB1F31B2}" destId="{681947D6-FFE2-449F-95BE-AF39FDDBD44B}" srcOrd="1" destOrd="0" presId="urn:microsoft.com/office/officeart/2005/8/layout/orgChart1"/>
    <dgm:cxn modelId="{CE71DE55-D0D2-4779-9E18-6D03B7A905A6}" type="presOf" srcId="{ECB17B0B-D920-43D6-B1A7-3190DC484434}" destId="{80C6BAC8-E013-410E-8324-BCA921A04321}" srcOrd="1" destOrd="0" presId="urn:microsoft.com/office/officeart/2005/8/layout/orgChart1"/>
    <dgm:cxn modelId="{1DB7EB58-E868-49CF-9471-BFCAEF69FFF2}" type="presOf" srcId="{799FC193-E628-476D-994C-D5D57722115D}" destId="{F9710AF4-954F-4A82-B7F7-21E813551464}" srcOrd="0" destOrd="0" presId="urn:microsoft.com/office/officeart/2005/8/layout/orgChart1"/>
    <dgm:cxn modelId="{302BF35B-5139-4DA5-B758-DF96ACC6A508}" type="presOf" srcId="{AF72E00F-DFCF-4111-A5F1-89A3023FD81D}" destId="{3D4942B9-B885-46EC-8853-811F5C174A29}" srcOrd="1" destOrd="0" presId="urn:microsoft.com/office/officeart/2005/8/layout/orgChart1"/>
    <dgm:cxn modelId="{81CA705C-9F6D-4E9E-B7ED-55426621C440}" type="presOf" srcId="{D6777E0A-4B00-4391-B9CC-1D598A4344EE}" destId="{368C8B65-E41D-482C-9B21-EBE85602CE43}" srcOrd="0" destOrd="0" presId="urn:microsoft.com/office/officeart/2005/8/layout/orgChart1"/>
    <dgm:cxn modelId="{877C2664-431D-4B6D-BC4D-4D332DB3CFF3}" type="presOf" srcId="{38D76C0D-BBF1-4814-9B13-CE727BA3B644}" destId="{E58152A2-1F33-403C-9350-782D337FABDD}" srcOrd="0" destOrd="0" presId="urn:microsoft.com/office/officeart/2005/8/layout/orgChart1"/>
    <dgm:cxn modelId="{17333364-930A-462D-8FB9-B792E3408B7D}" type="presOf" srcId="{77A7CD76-5F3D-4D92-B8A6-638CCFA4154D}" destId="{30F4AFFF-EA23-484A-90D1-1C9F0AF88388}" srcOrd="0" destOrd="0" presId="urn:microsoft.com/office/officeart/2005/8/layout/orgChart1"/>
    <dgm:cxn modelId="{E4503664-C330-4CA8-B8B0-5FE0BB35D651}" type="presOf" srcId="{8DC24D90-7552-4B3E-80B7-AEC695C76EA4}" destId="{1E085668-5F81-46A4-B3C8-4B7B97FCE06B}" srcOrd="0" destOrd="0" presId="urn:microsoft.com/office/officeart/2005/8/layout/orgChart1"/>
    <dgm:cxn modelId="{B8F77666-8E30-4585-9ED7-01F1BC0EB7E2}" type="presOf" srcId="{38D76C0D-BBF1-4814-9B13-CE727BA3B644}" destId="{5E059CEA-0C1D-4619-8ABC-68D5F6131990}" srcOrd="1" destOrd="0" presId="urn:microsoft.com/office/officeart/2005/8/layout/orgChart1"/>
    <dgm:cxn modelId="{FAB3046D-F9E6-443F-AE23-F73A021839DB}" srcId="{1A3F2F0D-B4EB-468A-B45E-42CC69EF3D47}" destId="{79F04F0D-ACA8-47A5-A709-C27737166C1A}" srcOrd="1" destOrd="0" parTransId="{3FAF8054-E587-4EC0-B397-59640782D99A}" sibTransId="{F0470309-EC9A-4D70-BDAC-50B55599BB75}"/>
    <dgm:cxn modelId="{B9BF966D-626D-49DC-BCAC-752FD4E1846D}" type="presOf" srcId="{79F04F0D-ACA8-47A5-A709-C27737166C1A}" destId="{0F2E3CF4-54D6-4AC1-A82A-B2FE09D823BA}" srcOrd="1" destOrd="0" presId="urn:microsoft.com/office/officeart/2005/8/layout/orgChart1"/>
    <dgm:cxn modelId="{BB4B2D6E-0969-4D56-89F7-570402DFB1BC}" srcId="{6DFC5AE2-6E7C-4917-8057-5C74705D9D9D}" destId="{2875B079-C6CD-432E-8859-5F7ABFD6CF18}" srcOrd="7" destOrd="0" parTransId="{3697862F-261E-4560-8B2D-9589D24FBAAF}" sibTransId="{97AB2886-88B3-434D-B194-C8EF5E3DC45A}"/>
    <dgm:cxn modelId="{F420F66E-C046-4217-A0CF-4AAE9B5CF295}" type="presOf" srcId="{B1FC590D-0C96-4B39-9988-056B1B0EDA16}" destId="{91159476-6152-4002-9397-4A4F0868A211}" srcOrd="0" destOrd="0" presId="urn:microsoft.com/office/officeart/2005/8/layout/orgChart1"/>
    <dgm:cxn modelId="{3DBF1973-FF89-4E93-A057-AFC4507A4404}" type="presOf" srcId="{2C0B4ECC-4BFC-4179-99DB-A697C1C4FE66}" destId="{99C672C4-1847-4671-B091-C92BDF5A2279}" srcOrd="0" destOrd="0" presId="urn:microsoft.com/office/officeart/2005/8/layout/orgChart1"/>
    <dgm:cxn modelId="{1A80C574-6A9A-4A4E-BF12-6BAA4161C8A5}" srcId="{6DFC5AE2-6E7C-4917-8057-5C74705D9D9D}" destId="{8339AB11-0BB4-47A9-9FE4-FD533FA7D243}" srcOrd="8" destOrd="0" parTransId="{43CE503E-198F-4A73-A0DB-D2D9098262C9}" sibTransId="{D839E307-4748-4315-BDC6-C1B12D0C73C2}"/>
    <dgm:cxn modelId="{E343C874-C10B-4955-BC6D-9C0915A7A21F}" type="presOf" srcId="{085D528F-2329-4808-A58C-6BAB5D271CA3}" destId="{7D4E5564-99CC-49A4-B768-548321438AF3}" srcOrd="1" destOrd="0" presId="urn:microsoft.com/office/officeart/2005/8/layout/orgChart1"/>
    <dgm:cxn modelId="{E8977677-9BF4-4235-BCC1-A566064DD503}" type="presOf" srcId="{505B21EF-E62D-471D-B766-DB7F8CD61D6F}" destId="{521AF49D-5E3F-4FA0-9028-A595FBC4BA63}" srcOrd="0" destOrd="0" presId="urn:microsoft.com/office/officeart/2005/8/layout/orgChart1"/>
    <dgm:cxn modelId="{A7B4DE78-A968-46B9-8FCD-AF5412F5D3B1}" srcId="{6DFC5AE2-6E7C-4917-8057-5C74705D9D9D}" destId="{4B9457D5-645A-4D31-9CED-EE0587DAC6A0}" srcOrd="0" destOrd="0" parTransId="{3250ED57-B49D-4C76-A87C-64E5219AFA0F}" sibTransId="{B5C4BABD-A014-4CF1-8F84-D170C952F05F}"/>
    <dgm:cxn modelId="{8B0B3D7A-CC36-4064-928F-00F3F54C92E0}" type="presOf" srcId="{4B9457D5-645A-4D31-9CED-EE0587DAC6A0}" destId="{9BB0E03A-4BD4-4C68-AE54-C9E7FCB93BCA}" srcOrd="0" destOrd="0" presId="urn:microsoft.com/office/officeart/2005/8/layout/orgChart1"/>
    <dgm:cxn modelId="{80178D7B-12CF-4BD6-A43B-A0D20B8C4071}" type="presOf" srcId="{132B66C8-BB57-42C5-8754-325880351D47}" destId="{3C675C3B-CD93-4115-8E8E-438206F8C0F9}" srcOrd="1" destOrd="0" presId="urn:microsoft.com/office/officeart/2005/8/layout/orgChart1"/>
    <dgm:cxn modelId="{4770AD7C-D924-4E10-B43A-A7786541F761}" srcId="{ECB17B0B-D920-43D6-B1A7-3190DC484434}" destId="{799FC193-E628-476D-994C-D5D57722115D}" srcOrd="1" destOrd="0" parTransId="{5626CC66-D1F2-40A6-84A6-D4E1348AE853}" sibTransId="{C046D669-F469-47F8-A99E-A25744560968}"/>
    <dgm:cxn modelId="{134FAC7E-72DA-45BB-93D8-29DDC5FB234A}" type="presOf" srcId="{ECB17B0B-D920-43D6-B1A7-3190DC484434}" destId="{462A7BCE-C227-4277-9437-A99CC96A5257}" srcOrd="0" destOrd="0" presId="urn:microsoft.com/office/officeart/2005/8/layout/orgChart1"/>
    <dgm:cxn modelId="{2BBD667F-CD7A-45EB-9303-001D15EEF12E}" type="presOf" srcId="{45743D59-2551-4361-8D4C-07FB0C033EEB}" destId="{5F019C9A-5800-46DA-84B5-9212CD650A0B}" srcOrd="1" destOrd="0" presId="urn:microsoft.com/office/officeart/2005/8/layout/orgChart1"/>
    <dgm:cxn modelId="{F6E18C82-DBDA-4105-A9D2-377585B7FF06}" type="presOf" srcId="{4A0E2D23-9485-4F24-BC63-09EA3EF678E4}" destId="{AB7A6DB4-DC9B-46BD-8FF4-884D8F423952}" srcOrd="0" destOrd="0" presId="urn:microsoft.com/office/officeart/2005/8/layout/orgChart1"/>
    <dgm:cxn modelId="{EB572786-705B-47F5-A9B9-675AE59B114B}" type="presOf" srcId="{CE2908F8-3570-41E8-BC40-3330F0E9DD41}" destId="{E1358C00-370A-4FF4-8217-FEAEB2151FAE}" srcOrd="0" destOrd="0" presId="urn:microsoft.com/office/officeart/2005/8/layout/orgChart1"/>
    <dgm:cxn modelId="{0EAF028C-884E-4843-A0EF-53F636D3AB2D}" type="presOf" srcId="{AF72E00F-DFCF-4111-A5F1-89A3023FD81D}" destId="{D5103497-1B54-43E8-8200-478661CC0DA5}" srcOrd="0" destOrd="0" presId="urn:microsoft.com/office/officeart/2005/8/layout/orgChart1"/>
    <dgm:cxn modelId="{5C6E8E95-B529-4381-87FE-935F3A5B9C7B}" type="presOf" srcId="{4B9457D5-645A-4D31-9CED-EE0587DAC6A0}" destId="{403D4DDD-AA1E-45AD-962A-6A558914AC78}" srcOrd="1" destOrd="0" presId="urn:microsoft.com/office/officeart/2005/8/layout/orgChart1"/>
    <dgm:cxn modelId="{E0AD3D97-65DD-4FF7-9BD7-F8C9E758A118}" srcId="{77A7CD76-5F3D-4D92-B8A6-638CCFA4154D}" destId="{831EB9B5-1746-4E48-9CDE-4A2603D28CA7}" srcOrd="1" destOrd="0" parTransId="{B853E9AB-0C4F-491F-BB69-017ABCF6B6C8}" sibTransId="{4360FDAA-9951-4EF6-9836-614021BE4ECF}"/>
    <dgm:cxn modelId="{C499E39C-C41C-4562-900E-9CEE0989C96B}" type="presOf" srcId="{C815A540-13E4-40BD-BAC9-82A9AB1F31B2}" destId="{BC37007C-D3BD-48A6-B003-2D91750AE3F0}" srcOrd="0" destOrd="0" presId="urn:microsoft.com/office/officeart/2005/8/layout/orgChart1"/>
    <dgm:cxn modelId="{3221C09D-A6AE-462A-AACC-C78DEF0A6D19}" type="presOf" srcId="{6DFC5AE2-6E7C-4917-8057-5C74705D9D9D}" destId="{DA588E9D-DBF8-4C56-9AFC-8970409F8477}" srcOrd="1" destOrd="0" presId="urn:microsoft.com/office/officeart/2005/8/layout/orgChart1"/>
    <dgm:cxn modelId="{4772969E-53EB-4708-841B-8B64A7ADEC5C}" type="presOf" srcId="{6BB1E951-30F9-4EAA-BF09-2B25774B896A}" destId="{DCF0A5BA-E67B-496E-BC12-CBDEA646CF07}" srcOrd="0" destOrd="0" presId="urn:microsoft.com/office/officeart/2005/8/layout/orgChart1"/>
    <dgm:cxn modelId="{24155A9F-DCCB-46D6-8C70-6063A83A346A}" type="presOf" srcId="{1416C8C4-3451-47B9-9D88-C0DF2E46CB97}" destId="{1ED42500-912C-4715-A9D0-0074992F1B0F}" srcOrd="0" destOrd="0" presId="urn:microsoft.com/office/officeart/2005/8/layout/orgChart1"/>
    <dgm:cxn modelId="{C4FD2DA1-58C1-48C3-A02D-37B022F80CAF}" srcId="{D6777E0A-4B00-4391-B9CC-1D598A4344EE}" destId="{33FD494B-2DCC-41A6-993A-A9457FB3888A}" srcOrd="0" destOrd="0" parTransId="{C3B84D17-2544-4E8C-BD38-5FF60BBA92BF}" sibTransId="{5B2DAA86-AB82-45C8-BB10-5EE3466DFBF7}"/>
    <dgm:cxn modelId="{FF8E74A5-A768-4E45-A601-3365BBBCA3AC}" type="presOf" srcId="{2B65299D-08C3-43EC-90FD-C6BB43083FEB}" destId="{4B90F50A-0B72-43AF-A82C-1E4F330B5C9D}" srcOrd="0" destOrd="0" presId="urn:microsoft.com/office/officeart/2005/8/layout/orgChart1"/>
    <dgm:cxn modelId="{A3D32BAC-3C17-45AF-AD41-268154A0A528}" type="presOf" srcId="{1E6F696F-D568-45E3-8864-CA1884A80FC1}" destId="{C3894397-70E5-4648-ABEC-1AB330383C13}" srcOrd="0" destOrd="0" presId="urn:microsoft.com/office/officeart/2005/8/layout/orgChart1"/>
    <dgm:cxn modelId="{1996AEAC-76FB-4411-8E26-C6EC660E4D90}" type="presOf" srcId="{2875B079-C6CD-432E-8859-5F7ABFD6CF18}" destId="{77B18C0E-78FB-49E4-9546-9F78EC3047D6}" srcOrd="1" destOrd="0" presId="urn:microsoft.com/office/officeart/2005/8/layout/orgChart1"/>
    <dgm:cxn modelId="{411F33AD-E313-4CDF-B207-7BCB59258D2F}" type="presOf" srcId="{EDEA2C56-A004-4AF8-AA88-088BBFF12AAA}" destId="{568A51AE-DECA-4013-A4D5-3972674358B0}" srcOrd="0" destOrd="0" presId="urn:microsoft.com/office/officeart/2005/8/layout/orgChart1"/>
    <dgm:cxn modelId="{B37681AD-8A1F-4F53-BA79-30CECD61BABB}" type="presOf" srcId="{38B38290-78F3-4C26-904D-CF9A72E8B4A5}" destId="{B217CFF4-B211-4138-983A-90DE8D8E692D}" srcOrd="0" destOrd="0" presId="urn:microsoft.com/office/officeart/2005/8/layout/orgChart1"/>
    <dgm:cxn modelId="{8B7C4CAE-D814-4213-B9E5-2DFD8897B65D}" srcId="{6DFC5AE2-6E7C-4917-8057-5C74705D9D9D}" destId="{2C0B4ECC-4BFC-4179-99DB-A697C1C4FE66}" srcOrd="2" destOrd="0" parTransId="{CE2908F8-3570-41E8-BC40-3330F0E9DD41}" sibTransId="{C9547DC9-2EE3-4BC6-854E-500DE12A897F}"/>
    <dgm:cxn modelId="{329C64B6-C8D1-4E4A-B63B-D08BBD926DEB}" type="presOf" srcId="{C3B84D17-2544-4E8C-BD38-5FF60BBA92BF}" destId="{8A8E57CA-10F5-473F-81B5-C0CB20CA8100}" srcOrd="0" destOrd="0" presId="urn:microsoft.com/office/officeart/2005/8/layout/orgChart1"/>
    <dgm:cxn modelId="{2E375AB7-3F79-4C72-8ECE-B4A9046AFA6A}" type="presOf" srcId="{3FE7F073-D702-4DBF-99FD-8E2FDB39115E}" destId="{C5FAED33-EE50-4109-BAA0-0646053E8180}" srcOrd="0" destOrd="0" presId="urn:microsoft.com/office/officeart/2005/8/layout/orgChart1"/>
    <dgm:cxn modelId="{6C7E7FB8-DC36-4511-B286-4CBC5733254D}" srcId="{2C0B4ECC-4BFC-4179-99DB-A697C1C4FE66}" destId="{931AB28D-3BA4-4B34-BA16-23DEAC2242FB}" srcOrd="0" destOrd="0" parTransId="{AC404A0B-FE27-4F3B-BA46-ADEFBDEF0C51}" sibTransId="{6B488479-FF2E-4C35-8339-EEC7D2B90394}"/>
    <dgm:cxn modelId="{A8B1B8B8-43D2-4697-A200-195883D27D73}" type="presOf" srcId="{DD7865B5-20DA-4533-A08A-BD5AB7ED00BF}" destId="{8F7E9C0D-CCB0-4E96-B7F7-D8EF42572605}" srcOrd="1" destOrd="0" presId="urn:microsoft.com/office/officeart/2005/8/layout/orgChart1"/>
    <dgm:cxn modelId="{8B4492BD-D0A1-4F5C-BE65-4F9BE733B6BB}" type="presOf" srcId="{1A3F2F0D-B4EB-468A-B45E-42CC69EF3D47}" destId="{E84F247F-0397-425B-823B-16B33C324032}" srcOrd="0" destOrd="0" presId="urn:microsoft.com/office/officeart/2005/8/layout/orgChart1"/>
    <dgm:cxn modelId="{859152BF-363D-4A3F-BBD4-88C8FBA2D71F}" type="presOf" srcId="{8339AB11-0BB4-47A9-9FE4-FD533FA7D243}" destId="{0C4E34C0-D74F-4ED8-ADAF-8EB2F65C2DED}" srcOrd="0" destOrd="0" presId="urn:microsoft.com/office/officeart/2005/8/layout/orgChart1"/>
    <dgm:cxn modelId="{0E2497C5-3607-4069-A742-2BD0731B0B64}" type="presOf" srcId="{77977417-3357-4110-8E97-E9ABA68BF184}" destId="{07A20742-FBDD-4022-A0AA-DB7D506A479A}" srcOrd="0" destOrd="0" presId="urn:microsoft.com/office/officeart/2005/8/layout/orgChart1"/>
    <dgm:cxn modelId="{03E34FC7-4E49-40E8-BA0B-49FD2235E503}" type="presOf" srcId="{44CD108C-88B5-4C4E-9360-317BA0583AD4}" destId="{FC9075DC-35EA-4A61-813F-93731E7D5A67}" srcOrd="0" destOrd="0" presId="urn:microsoft.com/office/officeart/2005/8/layout/orgChart1"/>
    <dgm:cxn modelId="{7F98E8CC-A156-448D-889B-B80E62D4B9A0}" type="presOf" srcId="{D6777E0A-4B00-4391-B9CC-1D598A4344EE}" destId="{72FF2892-EDDC-4593-94FE-E2A6A1D0D788}" srcOrd="1" destOrd="0" presId="urn:microsoft.com/office/officeart/2005/8/layout/orgChart1"/>
    <dgm:cxn modelId="{A472A2CD-2848-4A05-A877-97892CBDD3EB}" type="presOf" srcId="{77A7CD76-5F3D-4D92-B8A6-638CCFA4154D}" destId="{CC075428-7158-4ED8-BE5C-FEF5FFD5492F}" srcOrd="1" destOrd="0" presId="urn:microsoft.com/office/officeart/2005/8/layout/orgChart1"/>
    <dgm:cxn modelId="{C18427CE-7694-4EBF-A011-6530EB64B11B}" type="presOf" srcId="{B1FC590D-0C96-4B39-9988-056B1B0EDA16}" destId="{EA25830B-6BBE-4555-8825-3DD66A6BD705}" srcOrd="1" destOrd="0" presId="urn:microsoft.com/office/officeart/2005/8/layout/orgChart1"/>
    <dgm:cxn modelId="{3C2C0DCF-2BE0-4F59-AFDC-9BB429BABBC4}" srcId="{6BB1E951-30F9-4EAA-BF09-2B25774B896A}" destId="{DD7865B5-20DA-4533-A08A-BD5AB7ED00BF}" srcOrd="0" destOrd="0" parTransId="{2B65299D-08C3-43EC-90FD-C6BB43083FEB}" sibTransId="{17F60272-DBA0-4A4B-B1E6-8CD115C5231A}"/>
    <dgm:cxn modelId="{A2D69ECF-7F70-4F8C-B244-6DB6F761D44C}" type="presOf" srcId="{DD7865B5-20DA-4533-A08A-BD5AB7ED00BF}" destId="{A5DE9AE0-25E0-4835-8879-ACD2D38E1323}" srcOrd="0" destOrd="0" presId="urn:microsoft.com/office/officeart/2005/8/layout/orgChart1"/>
    <dgm:cxn modelId="{BC02E7D0-AD99-4824-B37A-12CD29137B35}" srcId="{D6777E0A-4B00-4391-B9CC-1D598A4344EE}" destId="{D9C5A013-84BE-4DD8-AD7A-93BBFBDA0686}" srcOrd="1" destOrd="0" parTransId="{216FCFB8-80A1-4CA9-81DA-64B20F1F213A}" sibTransId="{8F383DD6-8C76-4CB1-9284-58D89F3BBF44}"/>
    <dgm:cxn modelId="{3BF0BFD3-2F54-40D2-AD2F-22B76EF66DEA}" srcId="{6BB1E951-30F9-4EAA-BF09-2B25774B896A}" destId="{1E6F696F-D568-45E3-8864-CA1884A80FC1}" srcOrd="3" destOrd="0" parTransId="{38B38290-78F3-4C26-904D-CF9A72E8B4A5}" sibTransId="{0623A7B5-BEAA-43A9-9F7C-BECB283710C0}"/>
    <dgm:cxn modelId="{2A9B5FD4-135D-4310-9029-8ED401757B78}" type="presOf" srcId="{5626CC66-D1F2-40A6-84A6-D4E1348AE853}" destId="{2E923624-FD1D-48AE-ACC7-34D29C06564F}" srcOrd="0" destOrd="0" presId="urn:microsoft.com/office/officeart/2005/8/layout/orgChart1"/>
    <dgm:cxn modelId="{E545FFD7-9D4E-4F40-84A7-6D5DBEFCC27F}" type="presOf" srcId="{1A3F2F0D-B4EB-468A-B45E-42CC69EF3D47}" destId="{7EA7BB40-454A-4663-BE76-09A6EE6A4229}" srcOrd="1" destOrd="0" presId="urn:microsoft.com/office/officeart/2005/8/layout/orgChart1"/>
    <dgm:cxn modelId="{CE72E6DA-5AE2-43F3-9DAB-5E179ABEAECC}" type="presOf" srcId="{AC404A0B-FE27-4F3B-BA46-ADEFBDEF0C51}" destId="{BD447C8C-5208-400C-AC14-68BE588DECE7}" srcOrd="0" destOrd="0" presId="urn:microsoft.com/office/officeart/2005/8/layout/orgChart1"/>
    <dgm:cxn modelId="{4643FADB-9873-410D-9F86-9E1A81DE7658}" type="presOf" srcId="{831EB9B5-1746-4E48-9CDE-4A2603D28CA7}" destId="{7F034C3A-58FD-4DF4-BB0E-2631E2904942}" srcOrd="1" destOrd="0" presId="urn:microsoft.com/office/officeart/2005/8/layout/orgChart1"/>
    <dgm:cxn modelId="{791B9EDC-D334-408C-850B-AAFC672DC868}" type="presOf" srcId="{08BCF85E-9CD4-4FD9-85AE-D73AF32E97E3}" destId="{ECB6D82A-6A8A-432A-A1E5-89CEFA866224}" srcOrd="0" destOrd="0" presId="urn:microsoft.com/office/officeart/2005/8/layout/orgChart1"/>
    <dgm:cxn modelId="{651F2ADD-D7D1-4985-B69F-8B20994756A4}" type="presOf" srcId="{C9E814BE-0805-4D90-B852-BABF1D620F83}" destId="{DEA44009-D2FC-4650-A0F7-87F299BF4308}" srcOrd="0" destOrd="0" presId="urn:microsoft.com/office/officeart/2005/8/layout/orgChart1"/>
    <dgm:cxn modelId="{A8D603DF-F9FB-4836-80F2-9AEBAED012D5}" srcId="{6BB1E951-30F9-4EAA-BF09-2B25774B896A}" destId="{45743D59-2551-4361-8D4C-07FB0C033EEB}" srcOrd="2" destOrd="0" parTransId="{4A0E2D23-9485-4F24-BC63-09EA3EF678E4}" sibTransId="{BA426354-80F7-4BDE-A2F1-E9DDB31BE505}"/>
    <dgm:cxn modelId="{EE3C4CDF-D6E7-4351-B052-DE44C46E6E7B}" type="presOf" srcId="{1E6F696F-D568-45E3-8864-CA1884A80FC1}" destId="{10320F1E-4541-4A94-8AA9-4953BD9B9109}" srcOrd="1" destOrd="0" presId="urn:microsoft.com/office/officeart/2005/8/layout/orgChart1"/>
    <dgm:cxn modelId="{CDFD96DF-060C-4516-8A8F-4AB34826F24C}" srcId="{ECB17B0B-D920-43D6-B1A7-3190DC484434}" destId="{132B66C8-BB57-42C5-8754-325880351D47}" srcOrd="0" destOrd="0" parTransId="{3FE7F073-D702-4DBF-99FD-8E2FDB39115E}" sibTransId="{1B61FE96-FF9A-4569-9578-5775FA63A965}"/>
    <dgm:cxn modelId="{9287CDDF-D277-4E35-9F44-2674560D32FE}" type="presOf" srcId="{132B66C8-BB57-42C5-8754-325880351D47}" destId="{2B96D054-8CF5-42B7-B150-A83AECB6A757}" srcOrd="0" destOrd="0" presId="urn:microsoft.com/office/officeart/2005/8/layout/orgChart1"/>
    <dgm:cxn modelId="{DC9935E7-2789-40EE-B516-72D8766B1F55}" type="presOf" srcId="{BD9EA7ED-9A15-4511-979D-AC5DEEA1CD06}" destId="{49067820-ABF4-4847-AA44-A1C63250F33F}" srcOrd="0" destOrd="0" presId="urn:microsoft.com/office/officeart/2005/8/layout/orgChart1"/>
    <dgm:cxn modelId="{051A7AE9-EF01-4D50-A0C8-378ACC99A808}" type="presOf" srcId="{D9C5A013-84BE-4DD8-AD7A-93BBFBDA0686}" destId="{14ACAB7D-6C11-403C-8CB1-BF18E2CF0E5B}" srcOrd="0" destOrd="0" presId="urn:microsoft.com/office/officeart/2005/8/layout/orgChart1"/>
    <dgm:cxn modelId="{D19CF0E9-F66A-42E5-A217-68D4EA1F9DE9}" type="presOf" srcId="{33FD494B-2DCC-41A6-993A-A9457FB3888A}" destId="{0343E82B-C6F1-48DA-B486-FE99E239E281}" srcOrd="0" destOrd="0" presId="urn:microsoft.com/office/officeart/2005/8/layout/orgChart1"/>
    <dgm:cxn modelId="{D58895EA-2F82-42EF-AD98-828765D4445B}" type="presOf" srcId="{085D528F-2329-4808-A58C-6BAB5D271CA3}" destId="{EC369270-0B96-4B44-A704-B07257F79DD2}" srcOrd="0" destOrd="0" presId="urn:microsoft.com/office/officeart/2005/8/layout/orgChart1"/>
    <dgm:cxn modelId="{04B5A7ED-1B7E-4607-A0A3-25A587B8A613}" type="presOf" srcId="{3697862F-261E-4560-8B2D-9589D24FBAAF}" destId="{2822494F-E59A-467F-8D56-B9324C86E101}" srcOrd="0" destOrd="0" presId="urn:microsoft.com/office/officeart/2005/8/layout/orgChart1"/>
    <dgm:cxn modelId="{6F59A1EF-0809-4FD7-B1F1-41F8045CD935}" type="presOf" srcId="{3C5609AA-9AC4-4D3A-A3D1-C86ADD8FD537}" destId="{91E537DF-B60C-4CD1-8622-36A2D0DE6575}" srcOrd="1" destOrd="0" presId="urn:microsoft.com/office/officeart/2005/8/layout/orgChart1"/>
    <dgm:cxn modelId="{B0F4FCF1-1E31-4EB4-BF02-15630A2900AA}" type="presOf" srcId="{43CE503E-198F-4A73-A0DB-D2D9098262C9}" destId="{42DA4DB7-4FBF-491B-909E-535821CB9AF8}" srcOrd="0" destOrd="0" presId="urn:microsoft.com/office/officeart/2005/8/layout/orgChart1"/>
    <dgm:cxn modelId="{586228F4-3501-4F84-9F60-A342485F6636}" type="presOf" srcId="{39511C94-1DF4-45AE-A5D1-7A679E88BD6A}" destId="{2CB5168A-B09A-482B-8EC0-F83DB383CAC3}" srcOrd="0" destOrd="0" presId="urn:microsoft.com/office/officeart/2005/8/layout/orgChart1"/>
    <dgm:cxn modelId="{54A1E5F4-F1CC-4056-B6AA-B4CB02B1A3B1}" type="presOf" srcId="{8116A0EB-E7F0-4FC2-BCFD-837F30917FE5}" destId="{C0C1734D-79E4-4D26-9F8E-78EED392BD27}" srcOrd="0" destOrd="0" presId="urn:microsoft.com/office/officeart/2005/8/layout/orgChart1"/>
    <dgm:cxn modelId="{A0DBD3F5-EB64-4E99-A28D-FF88A5C1B480}" type="presOf" srcId="{33FD494B-2DCC-41A6-993A-A9457FB3888A}" destId="{013D0CD7-46DA-4A6D-9BAD-E6FE3B4D28F6}" srcOrd="1" destOrd="0" presId="urn:microsoft.com/office/officeart/2005/8/layout/orgChart1"/>
    <dgm:cxn modelId="{3650EBF8-9305-40B9-BC4C-88BC44326991}" srcId="{2C0B4ECC-4BFC-4179-99DB-A697C1C4FE66}" destId="{B1FC590D-0C96-4B39-9988-056B1B0EDA16}" srcOrd="1" destOrd="0" parTransId="{C9E814BE-0805-4D90-B852-BABF1D620F83}" sibTransId="{D717008E-6DEF-4297-BBC3-CC861C98574F}"/>
    <dgm:cxn modelId="{0E15EDF8-56EC-44E6-AD05-0C7B88E60C00}" type="presOf" srcId="{79F04F0D-ACA8-47A5-A709-C27737166C1A}" destId="{CAA10B07-C1CF-457F-B784-6B2E3C1FF820}" srcOrd="0" destOrd="0" presId="urn:microsoft.com/office/officeart/2005/8/layout/orgChart1"/>
    <dgm:cxn modelId="{229431FB-C517-43F0-9EDA-115B023E332A}" type="presOf" srcId="{3250ED57-B49D-4C76-A87C-64E5219AFA0F}" destId="{6768E07E-F48E-4229-A8B7-ABF8737BF732}" srcOrd="0" destOrd="0" presId="urn:microsoft.com/office/officeart/2005/8/layout/orgChart1"/>
    <dgm:cxn modelId="{68B64FFD-6025-4DBE-B8CA-9B75FDEBFBB1}" type="presOf" srcId="{3FAF8054-E587-4EC0-B397-59640782D99A}" destId="{A8BD005A-13B6-4419-B7CE-1E994173B159}" srcOrd="0" destOrd="0" presId="urn:microsoft.com/office/officeart/2005/8/layout/orgChart1"/>
    <dgm:cxn modelId="{2CD55FFD-D7D6-4A10-8A3F-E75261326930}" type="presOf" srcId="{216FCFB8-80A1-4CA9-81DA-64B20F1F213A}" destId="{9545F10F-0187-4226-B129-6A06FC3DF3A3}" srcOrd="0" destOrd="0" presId="urn:microsoft.com/office/officeart/2005/8/layout/orgChart1"/>
    <dgm:cxn modelId="{5440E7FD-EF09-4F55-86A3-498866A79967}" type="presOf" srcId="{799FC193-E628-476D-994C-D5D57722115D}" destId="{5B118D3B-78DF-4FA8-A9BD-32892B53E0A6}" srcOrd="1" destOrd="0" presId="urn:microsoft.com/office/officeart/2005/8/layout/orgChart1"/>
    <dgm:cxn modelId="{B75D36FE-5805-451A-A32D-D3BE1C194E98}" srcId="{ECB17B0B-D920-43D6-B1A7-3190DC484434}" destId="{3C5609AA-9AC4-4D3A-A3D1-C86ADD8FD537}" srcOrd="2" destOrd="0" parTransId="{77977417-3357-4110-8E97-E9ABA68BF184}" sibTransId="{3768B673-AE2D-45CF-AB91-D921DCBC8293}"/>
    <dgm:cxn modelId="{8B899261-F6D9-485A-9F10-474FF93CA13B}" type="presParOf" srcId="{323A3808-42AA-4B91-9D6C-C064E81C7121}" destId="{5630906F-722C-4B74-8097-992A9E0D1202}" srcOrd="0" destOrd="0" presId="urn:microsoft.com/office/officeart/2005/8/layout/orgChart1"/>
    <dgm:cxn modelId="{ACBB7760-7DF3-4F3F-9E8A-33BF93EAD5B6}" type="presParOf" srcId="{5630906F-722C-4B74-8097-992A9E0D1202}" destId="{60D12FE8-E242-4A43-B982-C8FD0DDB3B0E}" srcOrd="0" destOrd="0" presId="urn:microsoft.com/office/officeart/2005/8/layout/orgChart1"/>
    <dgm:cxn modelId="{FCC85E5B-3043-4A6A-8FB9-9226345ED7FA}" type="presParOf" srcId="{60D12FE8-E242-4A43-B982-C8FD0DDB3B0E}" destId="{EFC88690-823F-4158-A029-566E82AD0A48}" srcOrd="0" destOrd="0" presId="urn:microsoft.com/office/officeart/2005/8/layout/orgChart1"/>
    <dgm:cxn modelId="{C38318C6-ACD0-4847-9A46-7DA516717F3B}" type="presParOf" srcId="{60D12FE8-E242-4A43-B982-C8FD0DDB3B0E}" destId="{DA588E9D-DBF8-4C56-9AFC-8970409F8477}" srcOrd="1" destOrd="0" presId="urn:microsoft.com/office/officeart/2005/8/layout/orgChart1"/>
    <dgm:cxn modelId="{E08886D2-56CC-460C-A6D1-939F1A3DFCC4}" type="presParOf" srcId="{5630906F-722C-4B74-8097-992A9E0D1202}" destId="{A2D99510-55E2-4F7C-9B85-9BD3CB214B47}" srcOrd="1" destOrd="0" presId="urn:microsoft.com/office/officeart/2005/8/layout/orgChart1"/>
    <dgm:cxn modelId="{4795D746-983F-424F-8AC7-69E502EEA3B1}" type="presParOf" srcId="{A2D99510-55E2-4F7C-9B85-9BD3CB214B47}" destId="{6768E07E-F48E-4229-A8B7-ABF8737BF732}" srcOrd="0" destOrd="0" presId="urn:microsoft.com/office/officeart/2005/8/layout/orgChart1"/>
    <dgm:cxn modelId="{C1D81AB3-791C-48CE-911F-61B9A1C46B1E}" type="presParOf" srcId="{A2D99510-55E2-4F7C-9B85-9BD3CB214B47}" destId="{E083A154-CFDE-40BC-A0D7-597539DC1700}" srcOrd="1" destOrd="0" presId="urn:microsoft.com/office/officeart/2005/8/layout/orgChart1"/>
    <dgm:cxn modelId="{50097C9D-FFED-4F89-9C4A-B08F0B645C19}" type="presParOf" srcId="{E083A154-CFDE-40BC-A0D7-597539DC1700}" destId="{38CA0EF9-06EA-4667-80EA-807BA24B1DC5}" srcOrd="0" destOrd="0" presId="urn:microsoft.com/office/officeart/2005/8/layout/orgChart1"/>
    <dgm:cxn modelId="{C752AE36-A19C-4FA9-975D-6F672921FB46}" type="presParOf" srcId="{38CA0EF9-06EA-4667-80EA-807BA24B1DC5}" destId="{9BB0E03A-4BD4-4C68-AE54-C9E7FCB93BCA}" srcOrd="0" destOrd="0" presId="urn:microsoft.com/office/officeart/2005/8/layout/orgChart1"/>
    <dgm:cxn modelId="{A64B48EE-B2BC-43A5-A7F5-7836F7FD84F8}" type="presParOf" srcId="{38CA0EF9-06EA-4667-80EA-807BA24B1DC5}" destId="{403D4DDD-AA1E-45AD-962A-6A558914AC78}" srcOrd="1" destOrd="0" presId="urn:microsoft.com/office/officeart/2005/8/layout/orgChart1"/>
    <dgm:cxn modelId="{A2BC5858-4803-456B-995E-4F5321956D82}" type="presParOf" srcId="{E083A154-CFDE-40BC-A0D7-597539DC1700}" destId="{78082C61-075C-4E4F-99D5-3504714114DF}" srcOrd="1" destOrd="0" presId="urn:microsoft.com/office/officeart/2005/8/layout/orgChart1"/>
    <dgm:cxn modelId="{A54322B8-7CBF-4A45-8403-EC044FE811E8}" type="presParOf" srcId="{78082C61-075C-4E4F-99D5-3504714114DF}" destId="{ABA5DDBC-F8BC-4BE9-AD91-D1060BA8EE3C}" srcOrd="0" destOrd="0" presId="urn:microsoft.com/office/officeart/2005/8/layout/orgChart1"/>
    <dgm:cxn modelId="{562B4CBC-CC13-4242-BD77-874C3FD8C409}" type="presParOf" srcId="{78082C61-075C-4E4F-99D5-3504714114DF}" destId="{DAEEBA6F-132B-4300-8FC7-61E9718A1BE8}" srcOrd="1" destOrd="0" presId="urn:microsoft.com/office/officeart/2005/8/layout/orgChart1"/>
    <dgm:cxn modelId="{CDB786DC-12B8-41F1-87EC-902CD33FFAB8}" type="presParOf" srcId="{DAEEBA6F-132B-4300-8FC7-61E9718A1BE8}" destId="{28CC8C6E-AF12-4C16-93E2-B78ADB4E8348}" srcOrd="0" destOrd="0" presId="urn:microsoft.com/office/officeart/2005/8/layout/orgChart1"/>
    <dgm:cxn modelId="{3264F9F9-7431-459F-B41D-90FD5CE8D9FA}" type="presParOf" srcId="{28CC8C6E-AF12-4C16-93E2-B78ADB4E8348}" destId="{BC37007C-D3BD-48A6-B003-2D91750AE3F0}" srcOrd="0" destOrd="0" presId="urn:microsoft.com/office/officeart/2005/8/layout/orgChart1"/>
    <dgm:cxn modelId="{294B9865-65E0-4ACA-8DC0-2665486B5845}" type="presParOf" srcId="{28CC8C6E-AF12-4C16-93E2-B78ADB4E8348}" destId="{681947D6-FFE2-449F-95BE-AF39FDDBD44B}" srcOrd="1" destOrd="0" presId="urn:microsoft.com/office/officeart/2005/8/layout/orgChart1"/>
    <dgm:cxn modelId="{5FA78770-DA64-4E6E-AF18-B6DA73B1907B}" type="presParOf" srcId="{DAEEBA6F-132B-4300-8FC7-61E9718A1BE8}" destId="{F9D716B3-A54D-4325-9BC3-4F97D72C89E2}" srcOrd="1" destOrd="0" presId="urn:microsoft.com/office/officeart/2005/8/layout/orgChart1"/>
    <dgm:cxn modelId="{41EF67C0-0CBF-4CAF-9F4E-4B7FC841B25A}" type="presParOf" srcId="{DAEEBA6F-132B-4300-8FC7-61E9718A1BE8}" destId="{4D02ECB7-F459-4193-B79C-68101391F6EA}" srcOrd="2" destOrd="0" presId="urn:microsoft.com/office/officeart/2005/8/layout/orgChart1"/>
    <dgm:cxn modelId="{AEECDCDB-21E0-4F8E-941D-39463B78CFC9}" type="presParOf" srcId="{E083A154-CFDE-40BC-A0D7-597539DC1700}" destId="{53597473-1251-4AE5-9C6E-A4EFD0BA675D}" srcOrd="2" destOrd="0" presId="urn:microsoft.com/office/officeart/2005/8/layout/orgChart1"/>
    <dgm:cxn modelId="{0DEC6B9E-A45F-4201-A7C7-60A37B4497FA}" type="presParOf" srcId="{A2D99510-55E2-4F7C-9B85-9BD3CB214B47}" destId="{568A51AE-DECA-4013-A4D5-3972674358B0}" srcOrd="2" destOrd="0" presId="urn:microsoft.com/office/officeart/2005/8/layout/orgChart1"/>
    <dgm:cxn modelId="{E80AB75A-5855-4CB7-966B-C88D857BD59F}" type="presParOf" srcId="{A2D99510-55E2-4F7C-9B85-9BD3CB214B47}" destId="{979DA93D-BF18-47D7-8BB1-93B45A5EA538}" srcOrd="3" destOrd="0" presId="urn:microsoft.com/office/officeart/2005/8/layout/orgChart1"/>
    <dgm:cxn modelId="{D5EF5A18-491F-459A-8747-7B9DB04CE501}" type="presParOf" srcId="{979DA93D-BF18-47D7-8BB1-93B45A5EA538}" destId="{1D00A953-28EF-4B82-B14B-2ECBEFEF1BA9}" srcOrd="0" destOrd="0" presId="urn:microsoft.com/office/officeart/2005/8/layout/orgChart1"/>
    <dgm:cxn modelId="{3EE1A82E-DBBE-4ED7-BE8E-EB7AA1CE68D7}" type="presParOf" srcId="{1D00A953-28EF-4B82-B14B-2ECBEFEF1BA9}" destId="{DCF0A5BA-E67B-496E-BC12-CBDEA646CF07}" srcOrd="0" destOrd="0" presId="urn:microsoft.com/office/officeart/2005/8/layout/orgChart1"/>
    <dgm:cxn modelId="{B48EB27F-B4FF-4EC0-85FD-1CC906DFBB8A}" type="presParOf" srcId="{1D00A953-28EF-4B82-B14B-2ECBEFEF1BA9}" destId="{218C37B2-5284-4639-BA8F-8B45D3427503}" srcOrd="1" destOrd="0" presId="urn:microsoft.com/office/officeart/2005/8/layout/orgChart1"/>
    <dgm:cxn modelId="{1F9C197D-78BF-4E85-BD93-D2C5CDFC9411}" type="presParOf" srcId="{979DA93D-BF18-47D7-8BB1-93B45A5EA538}" destId="{6400FEB4-B614-4142-BC07-7F2A4C6FC00B}" srcOrd="1" destOrd="0" presId="urn:microsoft.com/office/officeart/2005/8/layout/orgChart1"/>
    <dgm:cxn modelId="{CE2D0335-25DE-4DDC-9143-825D72D5F23E}" type="presParOf" srcId="{6400FEB4-B614-4142-BC07-7F2A4C6FC00B}" destId="{4B90F50A-0B72-43AF-A82C-1E4F330B5C9D}" srcOrd="0" destOrd="0" presId="urn:microsoft.com/office/officeart/2005/8/layout/orgChart1"/>
    <dgm:cxn modelId="{B8DD1A9D-9C98-463A-B614-0DC9F654CC0F}" type="presParOf" srcId="{6400FEB4-B614-4142-BC07-7F2A4C6FC00B}" destId="{78C7E960-A49B-41DD-AA94-000ACC70E0CD}" srcOrd="1" destOrd="0" presId="urn:microsoft.com/office/officeart/2005/8/layout/orgChart1"/>
    <dgm:cxn modelId="{E0D679BB-C849-48CA-A77D-EF2BD7768FB6}" type="presParOf" srcId="{78C7E960-A49B-41DD-AA94-000ACC70E0CD}" destId="{ACB3EC9D-825F-4929-9E53-6D58EB35C4B1}" srcOrd="0" destOrd="0" presId="urn:microsoft.com/office/officeart/2005/8/layout/orgChart1"/>
    <dgm:cxn modelId="{B0CBB574-C45C-4B69-9A74-AE68D4866F05}" type="presParOf" srcId="{ACB3EC9D-825F-4929-9E53-6D58EB35C4B1}" destId="{A5DE9AE0-25E0-4835-8879-ACD2D38E1323}" srcOrd="0" destOrd="0" presId="urn:microsoft.com/office/officeart/2005/8/layout/orgChart1"/>
    <dgm:cxn modelId="{4555DAAB-A431-4921-9AD4-28E199486B96}" type="presParOf" srcId="{ACB3EC9D-825F-4929-9E53-6D58EB35C4B1}" destId="{8F7E9C0D-CCB0-4E96-B7F7-D8EF42572605}" srcOrd="1" destOrd="0" presId="urn:microsoft.com/office/officeart/2005/8/layout/orgChart1"/>
    <dgm:cxn modelId="{1418F20F-0A63-45EE-A50F-F7C5FBBE8A93}" type="presParOf" srcId="{78C7E960-A49B-41DD-AA94-000ACC70E0CD}" destId="{CDF48593-7803-43D0-AC19-961C3CE8109B}" srcOrd="1" destOrd="0" presId="urn:microsoft.com/office/officeart/2005/8/layout/orgChart1"/>
    <dgm:cxn modelId="{9978EDB8-F9AC-4010-89B3-CAC51893DBE1}" type="presParOf" srcId="{78C7E960-A49B-41DD-AA94-000ACC70E0CD}" destId="{2E408076-BF6C-4D3B-9C7D-D484484699D5}" srcOrd="2" destOrd="0" presId="urn:microsoft.com/office/officeart/2005/8/layout/orgChart1"/>
    <dgm:cxn modelId="{7912A76D-1D10-4AEA-9DA0-72E9BB321F47}" type="presParOf" srcId="{6400FEB4-B614-4142-BC07-7F2A4C6FC00B}" destId="{2CB5168A-B09A-482B-8EC0-F83DB383CAC3}" srcOrd="2" destOrd="0" presId="urn:microsoft.com/office/officeart/2005/8/layout/orgChart1"/>
    <dgm:cxn modelId="{CEE206E8-3959-4F40-B2A4-BB5B61B5EC39}" type="presParOf" srcId="{6400FEB4-B614-4142-BC07-7F2A4C6FC00B}" destId="{1C5F80B2-6DE0-4730-A750-32C2BE79D899}" srcOrd="3" destOrd="0" presId="urn:microsoft.com/office/officeart/2005/8/layout/orgChart1"/>
    <dgm:cxn modelId="{3D91AB9F-120F-4396-830A-33FA9D85A52E}" type="presParOf" srcId="{1C5F80B2-6DE0-4730-A750-32C2BE79D899}" destId="{3F2B2CE4-D619-4701-91A6-4AFD22C4B307}" srcOrd="0" destOrd="0" presId="urn:microsoft.com/office/officeart/2005/8/layout/orgChart1"/>
    <dgm:cxn modelId="{9548C709-9E0F-447B-A4FC-8734CB74E56A}" type="presParOf" srcId="{3F2B2CE4-D619-4701-91A6-4AFD22C4B307}" destId="{E58152A2-1F33-403C-9350-782D337FABDD}" srcOrd="0" destOrd="0" presId="urn:microsoft.com/office/officeart/2005/8/layout/orgChart1"/>
    <dgm:cxn modelId="{B751C714-F58C-48B0-97E8-7D749EB289A7}" type="presParOf" srcId="{3F2B2CE4-D619-4701-91A6-4AFD22C4B307}" destId="{5E059CEA-0C1D-4619-8ABC-68D5F6131990}" srcOrd="1" destOrd="0" presId="urn:microsoft.com/office/officeart/2005/8/layout/orgChart1"/>
    <dgm:cxn modelId="{9A8AF1CF-EB7E-47BD-989B-344B8A13ED9E}" type="presParOf" srcId="{1C5F80B2-6DE0-4730-A750-32C2BE79D899}" destId="{EA9C557C-6061-4003-9551-2436DC5446D7}" srcOrd="1" destOrd="0" presId="urn:microsoft.com/office/officeart/2005/8/layout/orgChart1"/>
    <dgm:cxn modelId="{4B65FC41-DA9D-4BD7-B3BA-F51882603281}" type="presParOf" srcId="{1C5F80B2-6DE0-4730-A750-32C2BE79D899}" destId="{8AA527C2-ABBE-4BAE-9770-05096C766D35}" srcOrd="2" destOrd="0" presId="urn:microsoft.com/office/officeart/2005/8/layout/orgChart1"/>
    <dgm:cxn modelId="{0E5D7C85-8746-44D1-96AF-84A0F1D84469}" type="presParOf" srcId="{6400FEB4-B614-4142-BC07-7F2A4C6FC00B}" destId="{AB7A6DB4-DC9B-46BD-8FF4-884D8F423952}" srcOrd="4" destOrd="0" presId="urn:microsoft.com/office/officeart/2005/8/layout/orgChart1"/>
    <dgm:cxn modelId="{2EC33FE0-5927-477A-AC6A-90A2FA66543B}" type="presParOf" srcId="{6400FEB4-B614-4142-BC07-7F2A4C6FC00B}" destId="{CCE60A23-0E3C-485A-A236-1AA526581AC9}" srcOrd="5" destOrd="0" presId="urn:microsoft.com/office/officeart/2005/8/layout/orgChart1"/>
    <dgm:cxn modelId="{9A065E62-D2B2-4C87-915F-600D248D6541}" type="presParOf" srcId="{CCE60A23-0E3C-485A-A236-1AA526581AC9}" destId="{0D083F0F-0ACE-47C0-8273-0C904687802B}" srcOrd="0" destOrd="0" presId="urn:microsoft.com/office/officeart/2005/8/layout/orgChart1"/>
    <dgm:cxn modelId="{3D3CC4EE-3F2B-441A-865C-1080D010AE8D}" type="presParOf" srcId="{0D083F0F-0ACE-47C0-8273-0C904687802B}" destId="{13C1080A-0D0B-4DE3-9356-7FBC839A1717}" srcOrd="0" destOrd="0" presId="urn:microsoft.com/office/officeart/2005/8/layout/orgChart1"/>
    <dgm:cxn modelId="{F1687FB5-D9DD-4C94-97BB-51EDDCB90C03}" type="presParOf" srcId="{0D083F0F-0ACE-47C0-8273-0C904687802B}" destId="{5F019C9A-5800-46DA-84B5-9212CD650A0B}" srcOrd="1" destOrd="0" presId="urn:microsoft.com/office/officeart/2005/8/layout/orgChart1"/>
    <dgm:cxn modelId="{CE595D52-E014-4334-A280-F16ACDCF818F}" type="presParOf" srcId="{CCE60A23-0E3C-485A-A236-1AA526581AC9}" destId="{55531FCF-60B1-4095-B50A-9AE67B5FC7EF}" srcOrd="1" destOrd="0" presId="urn:microsoft.com/office/officeart/2005/8/layout/orgChart1"/>
    <dgm:cxn modelId="{FB814FC0-9D44-4207-80BD-03390E435B5A}" type="presParOf" srcId="{CCE60A23-0E3C-485A-A236-1AA526581AC9}" destId="{59E6A848-AA1A-4B04-9D32-034CFFF45B81}" srcOrd="2" destOrd="0" presId="urn:microsoft.com/office/officeart/2005/8/layout/orgChart1"/>
    <dgm:cxn modelId="{499357F3-149C-4212-A0B5-CB7AABB976AF}" type="presParOf" srcId="{6400FEB4-B614-4142-BC07-7F2A4C6FC00B}" destId="{B217CFF4-B211-4138-983A-90DE8D8E692D}" srcOrd="6" destOrd="0" presId="urn:microsoft.com/office/officeart/2005/8/layout/orgChart1"/>
    <dgm:cxn modelId="{C3CEE588-EB58-4257-99A6-BD693F764791}" type="presParOf" srcId="{6400FEB4-B614-4142-BC07-7F2A4C6FC00B}" destId="{9E0D3ECE-B7F6-4E1B-9B72-4F06740C9BC9}" srcOrd="7" destOrd="0" presId="urn:microsoft.com/office/officeart/2005/8/layout/orgChart1"/>
    <dgm:cxn modelId="{CD595C25-8FA1-4C3A-BCEC-1C82E2AAE208}" type="presParOf" srcId="{9E0D3ECE-B7F6-4E1B-9B72-4F06740C9BC9}" destId="{2ACB6D8D-A675-4876-A6ED-ADAFE68B8CB2}" srcOrd="0" destOrd="0" presId="urn:microsoft.com/office/officeart/2005/8/layout/orgChart1"/>
    <dgm:cxn modelId="{264F01BE-1310-47A1-89C7-A393BD8E63AC}" type="presParOf" srcId="{2ACB6D8D-A675-4876-A6ED-ADAFE68B8CB2}" destId="{C3894397-70E5-4648-ABEC-1AB330383C13}" srcOrd="0" destOrd="0" presId="urn:microsoft.com/office/officeart/2005/8/layout/orgChart1"/>
    <dgm:cxn modelId="{19E086B2-32C9-4AEE-A22E-B379F02E639F}" type="presParOf" srcId="{2ACB6D8D-A675-4876-A6ED-ADAFE68B8CB2}" destId="{10320F1E-4541-4A94-8AA9-4953BD9B9109}" srcOrd="1" destOrd="0" presId="urn:microsoft.com/office/officeart/2005/8/layout/orgChart1"/>
    <dgm:cxn modelId="{A1ACD3ED-0679-44A8-BB13-5C0231F4A2A8}" type="presParOf" srcId="{9E0D3ECE-B7F6-4E1B-9B72-4F06740C9BC9}" destId="{BFA7363D-3895-4E83-9931-9E9BEEBD25B5}" srcOrd="1" destOrd="0" presId="urn:microsoft.com/office/officeart/2005/8/layout/orgChart1"/>
    <dgm:cxn modelId="{F95AAB93-E132-48AF-B4B9-351831CAE857}" type="presParOf" srcId="{9E0D3ECE-B7F6-4E1B-9B72-4F06740C9BC9}" destId="{571D55BA-1092-402A-A77D-5D643180843C}" srcOrd="2" destOrd="0" presId="urn:microsoft.com/office/officeart/2005/8/layout/orgChart1"/>
    <dgm:cxn modelId="{2F544AA3-E2C9-490E-93F9-CACB939C0172}" type="presParOf" srcId="{979DA93D-BF18-47D7-8BB1-93B45A5EA538}" destId="{EA8C0ABE-1706-4F03-99C3-2BD26494C05E}" srcOrd="2" destOrd="0" presId="urn:microsoft.com/office/officeart/2005/8/layout/orgChart1"/>
    <dgm:cxn modelId="{5EF58D17-FC65-49E9-9CFE-26D3864B9F99}" type="presParOf" srcId="{A2D99510-55E2-4F7C-9B85-9BD3CB214B47}" destId="{E1358C00-370A-4FF4-8217-FEAEB2151FAE}" srcOrd="4" destOrd="0" presId="urn:microsoft.com/office/officeart/2005/8/layout/orgChart1"/>
    <dgm:cxn modelId="{25AD81D0-762E-443C-8699-30BFF22C7F2A}" type="presParOf" srcId="{A2D99510-55E2-4F7C-9B85-9BD3CB214B47}" destId="{7F0B3DFE-7788-4C84-BE93-74D245D8195A}" srcOrd="5" destOrd="0" presId="urn:microsoft.com/office/officeart/2005/8/layout/orgChart1"/>
    <dgm:cxn modelId="{A6733C45-A0F2-4FD0-AEB2-CCCE1B1B53A0}" type="presParOf" srcId="{7F0B3DFE-7788-4C84-BE93-74D245D8195A}" destId="{6A37C65A-9FE1-4353-A4F0-1E26A04FD473}" srcOrd="0" destOrd="0" presId="urn:microsoft.com/office/officeart/2005/8/layout/orgChart1"/>
    <dgm:cxn modelId="{AC515DB7-94EB-46CC-9EC2-26787AC5BCAD}" type="presParOf" srcId="{6A37C65A-9FE1-4353-A4F0-1E26A04FD473}" destId="{99C672C4-1847-4671-B091-C92BDF5A2279}" srcOrd="0" destOrd="0" presId="urn:microsoft.com/office/officeart/2005/8/layout/orgChart1"/>
    <dgm:cxn modelId="{828691B1-D15E-4E5F-9D93-C86F02A029D5}" type="presParOf" srcId="{6A37C65A-9FE1-4353-A4F0-1E26A04FD473}" destId="{591ABF03-CE86-46C4-849A-89551C938267}" srcOrd="1" destOrd="0" presId="urn:microsoft.com/office/officeart/2005/8/layout/orgChart1"/>
    <dgm:cxn modelId="{4B75281D-EEC4-46D2-950A-7111C200CC82}" type="presParOf" srcId="{7F0B3DFE-7788-4C84-BE93-74D245D8195A}" destId="{4A67F4F7-496C-4B49-8D65-52DA1D2063CC}" srcOrd="1" destOrd="0" presId="urn:microsoft.com/office/officeart/2005/8/layout/orgChart1"/>
    <dgm:cxn modelId="{D9D34138-BE3D-4A7B-AB88-E27F21FE5D5F}" type="presParOf" srcId="{4A67F4F7-496C-4B49-8D65-52DA1D2063CC}" destId="{BD447C8C-5208-400C-AC14-68BE588DECE7}" srcOrd="0" destOrd="0" presId="urn:microsoft.com/office/officeart/2005/8/layout/orgChart1"/>
    <dgm:cxn modelId="{04E2C05C-33C0-458E-9C1A-76E0D1F77A8F}" type="presParOf" srcId="{4A67F4F7-496C-4B49-8D65-52DA1D2063CC}" destId="{DC696E71-10D2-49B1-85A3-0FCB1B26CE60}" srcOrd="1" destOrd="0" presId="urn:microsoft.com/office/officeart/2005/8/layout/orgChart1"/>
    <dgm:cxn modelId="{297D2F93-4A8B-40B9-AFDE-BB14F4FE96F8}" type="presParOf" srcId="{DC696E71-10D2-49B1-85A3-0FCB1B26CE60}" destId="{A5DE6FAD-522E-4D2F-AF56-EBA7F8C17EC6}" srcOrd="0" destOrd="0" presId="urn:microsoft.com/office/officeart/2005/8/layout/orgChart1"/>
    <dgm:cxn modelId="{0E299644-4DDB-4340-BD19-24F7140623D9}" type="presParOf" srcId="{A5DE6FAD-522E-4D2F-AF56-EBA7F8C17EC6}" destId="{2BE48818-742B-4442-A055-A0C57BB4DC0F}" srcOrd="0" destOrd="0" presId="urn:microsoft.com/office/officeart/2005/8/layout/orgChart1"/>
    <dgm:cxn modelId="{B4DCEF85-E1C5-4F97-BC81-979D0648891E}" type="presParOf" srcId="{A5DE6FAD-522E-4D2F-AF56-EBA7F8C17EC6}" destId="{318175A8-C883-4AB5-9991-3993CF5CEFC5}" srcOrd="1" destOrd="0" presId="urn:microsoft.com/office/officeart/2005/8/layout/orgChart1"/>
    <dgm:cxn modelId="{0BFE32E2-3A4D-4985-9CFA-380389A1A971}" type="presParOf" srcId="{DC696E71-10D2-49B1-85A3-0FCB1B26CE60}" destId="{D3FE2942-A07D-4EFE-8F78-9A0B050FC074}" srcOrd="1" destOrd="0" presId="urn:microsoft.com/office/officeart/2005/8/layout/orgChart1"/>
    <dgm:cxn modelId="{9A243BDF-0C8A-469E-8889-6B0AD8B5BA93}" type="presParOf" srcId="{DC696E71-10D2-49B1-85A3-0FCB1B26CE60}" destId="{24DB3922-EC7C-45E4-95B8-BD77E947DE01}" srcOrd="2" destOrd="0" presId="urn:microsoft.com/office/officeart/2005/8/layout/orgChart1"/>
    <dgm:cxn modelId="{8C14A3D5-AED2-4498-8F1B-42829721A138}" type="presParOf" srcId="{4A67F4F7-496C-4B49-8D65-52DA1D2063CC}" destId="{DEA44009-D2FC-4650-A0F7-87F299BF4308}" srcOrd="2" destOrd="0" presId="urn:microsoft.com/office/officeart/2005/8/layout/orgChart1"/>
    <dgm:cxn modelId="{9358DFCE-4D09-4D1B-8D30-6856D5A24D73}" type="presParOf" srcId="{4A67F4F7-496C-4B49-8D65-52DA1D2063CC}" destId="{78C38F46-246D-4B81-AC35-39FBE6E09D2D}" srcOrd="3" destOrd="0" presId="urn:microsoft.com/office/officeart/2005/8/layout/orgChart1"/>
    <dgm:cxn modelId="{57ACAB9E-4011-4D0B-9317-95B062B3431B}" type="presParOf" srcId="{78C38F46-246D-4B81-AC35-39FBE6E09D2D}" destId="{54990139-B2A6-4E6D-944C-F83745C148A3}" srcOrd="0" destOrd="0" presId="urn:microsoft.com/office/officeart/2005/8/layout/orgChart1"/>
    <dgm:cxn modelId="{7991230C-3D7E-480D-95F7-EB010ECCD588}" type="presParOf" srcId="{54990139-B2A6-4E6D-944C-F83745C148A3}" destId="{91159476-6152-4002-9397-4A4F0868A211}" srcOrd="0" destOrd="0" presId="urn:microsoft.com/office/officeart/2005/8/layout/orgChart1"/>
    <dgm:cxn modelId="{533AFF9C-395F-45C1-8D3A-0E25D58670F2}" type="presParOf" srcId="{54990139-B2A6-4E6D-944C-F83745C148A3}" destId="{EA25830B-6BBE-4555-8825-3DD66A6BD705}" srcOrd="1" destOrd="0" presId="urn:microsoft.com/office/officeart/2005/8/layout/orgChart1"/>
    <dgm:cxn modelId="{5BAAAD59-BF7C-4A77-85DB-04D9F9B65F9F}" type="presParOf" srcId="{78C38F46-246D-4B81-AC35-39FBE6E09D2D}" destId="{6C260135-350D-4828-89C0-50659C969230}" srcOrd="1" destOrd="0" presId="urn:microsoft.com/office/officeart/2005/8/layout/orgChart1"/>
    <dgm:cxn modelId="{574B4CB6-20A2-4BF3-BEFF-9ACCF9A7F377}" type="presParOf" srcId="{78C38F46-246D-4B81-AC35-39FBE6E09D2D}" destId="{F875087A-693A-47D5-97F1-257926B97EA4}" srcOrd="2" destOrd="0" presId="urn:microsoft.com/office/officeart/2005/8/layout/orgChart1"/>
    <dgm:cxn modelId="{A062330B-1B87-44E7-92B4-2DBC207DAD39}" type="presParOf" srcId="{7F0B3DFE-7788-4C84-BE93-74D245D8195A}" destId="{0C91FBBF-905B-4C3D-8DAA-9B71DF85530D}" srcOrd="2" destOrd="0" presId="urn:microsoft.com/office/officeart/2005/8/layout/orgChart1"/>
    <dgm:cxn modelId="{1BBBB293-CF7D-4D46-8410-52100F248717}" type="presParOf" srcId="{A2D99510-55E2-4F7C-9B85-9BD3CB214B47}" destId="{1E085668-5F81-46A4-B3C8-4B7B97FCE06B}" srcOrd="6" destOrd="0" presId="urn:microsoft.com/office/officeart/2005/8/layout/orgChart1"/>
    <dgm:cxn modelId="{AFF21602-8D39-4B04-A331-B33BFE65BFD9}" type="presParOf" srcId="{A2D99510-55E2-4F7C-9B85-9BD3CB214B47}" destId="{37CB7299-9BF9-41DE-A8D4-7FAD5318BF35}" srcOrd="7" destOrd="0" presId="urn:microsoft.com/office/officeart/2005/8/layout/orgChart1"/>
    <dgm:cxn modelId="{DC0CE029-26ED-4F93-8601-3EC4F54BE61C}" type="presParOf" srcId="{37CB7299-9BF9-41DE-A8D4-7FAD5318BF35}" destId="{66D5B127-8B09-4C1E-9520-F2B23E37ED9F}" srcOrd="0" destOrd="0" presId="urn:microsoft.com/office/officeart/2005/8/layout/orgChart1"/>
    <dgm:cxn modelId="{08A48E67-A667-448C-B6B1-D7739C60E060}" type="presParOf" srcId="{66D5B127-8B09-4C1E-9520-F2B23E37ED9F}" destId="{30F4AFFF-EA23-484A-90D1-1C9F0AF88388}" srcOrd="0" destOrd="0" presId="urn:microsoft.com/office/officeart/2005/8/layout/orgChart1"/>
    <dgm:cxn modelId="{88C59CD8-B037-43B2-87F3-B1779E386647}" type="presParOf" srcId="{66D5B127-8B09-4C1E-9520-F2B23E37ED9F}" destId="{CC075428-7158-4ED8-BE5C-FEF5FFD5492F}" srcOrd="1" destOrd="0" presId="urn:microsoft.com/office/officeart/2005/8/layout/orgChart1"/>
    <dgm:cxn modelId="{B1629B84-76DC-4491-B83C-B604ABE35214}" type="presParOf" srcId="{37CB7299-9BF9-41DE-A8D4-7FAD5318BF35}" destId="{546636E2-C806-401B-8F7B-246F5EDB952B}" srcOrd="1" destOrd="0" presId="urn:microsoft.com/office/officeart/2005/8/layout/orgChart1"/>
    <dgm:cxn modelId="{B706F095-291C-4D6D-8891-90DC9CE2922E}" type="presParOf" srcId="{546636E2-C806-401B-8F7B-246F5EDB952B}" destId="{49067820-ABF4-4847-AA44-A1C63250F33F}" srcOrd="0" destOrd="0" presId="urn:microsoft.com/office/officeart/2005/8/layout/orgChart1"/>
    <dgm:cxn modelId="{FA618FF3-6130-4A08-AEEB-9E8AAEA8F569}" type="presParOf" srcId="{546636E2-C806-401B-8F7B-246F5EDB952B}" destId="{CD6FAAF6-576C-4F95-85AC-5A4A4EF129D2}" srcOrd="1" destOrd="0" presId="urn:microsoft.com/office/officeart/2005/8/layout/orgChart1"/>
    <dgm:cxn modelId="{055B6AAD-7DCF-453A-B9E3-2FF16E011192}" type="presParOf" srcId="{CD6FAAF6-576C-4F95-85AC-5A4A4EF129D2}" destId="{14530E19-0EA1-46C4-9309-D53131600257}" srcOrd="0" destOrd="0" presId="urn:microsoft.com/office/officeart/2005/8/layout/orgChart1"/>
    <dgm:cxn modelId="{7A5EF96E-84C3-4F5F-B7C2-7B87DEAABD35}" type="presParOf" srcId="{14530E19-0EA1-46C4-9309-D53131600257}" destId="{8DA62F6A-A266-46EF-9B5B-FF72031BCE00}" srcOrd="0" destOrd="0" presId="urn:microsoft.com/office/officeart/2005/8/layout/orgChart1"/>
    <dgm:cxn modelId="{5B50F1B6-5CFA-4ABE-BA40-81E3526507B5}" type="presParOf" srcId="{14530E19-0EA1-46C4-9309-D53131600257}" destId="{030185CE-4481-43C8-A97F-B68ECDF28FB7}" srcOrd="1" destOrd="0" presId="urn:microsoft.com/office/officeart/2005/8/layout/orgChart1"/>
    <dgm:cxn modelId="{A76A27AC-9E6D-42B4-B5D6-B9DDD5175142}" type="presParOf" srcId="{CD6FAAF6-576C-4F95-85AC-5A4A4EF129D2}" destId="{3A825DD1-92F9-46C1-A6B7-EC2E334ADD47}" srcOrd="1" destOrd="0" presId="urn:microsoft.com/office/officeart/2005/8/layout/orgChart1"/>
    <dgm:cxn modelId="{12618358-394B-4168-8642-2E7720814CD6}" type="presParOf" srcId="{CD6FAAF6-576C-4F95-85AC-5A4A4EF129D2}" destId="{2B7B206D-C12C-4399-A4EC-6467583CD759}" srcOrd="2" destOrd="0" presId="urn:microsoft.com/office/officeart/2005/8/layout/orgChart1"/>
    <dgm:cxn modelId="{A5ABC2CF-6548-4CEF-B0CD-3547D659C0D4}" type="presParOf" srcId="{546636E2-C806-401B-8F7B-246F5EDB952B}" destId="{EE691B9D-8A81-41C9-9537-6DD7A99DE0E3}" srcOrd="2" destOrd="0" presId="urn:microsoft.com/office/officeart/2005/8/layout/orgChart1"/>
    <dgm:cxn modelId="{29B4B55C-3A21-4055-B8F1-8A49831B1C72}" type="presParOf" srcId="{546636E2-C806-401B-8F7B-246F5EDB952B}" destId="{B53D94EE-83B6-424E-B3FE-1B66AEE7C251}" srcOrd="3" destOrd="0" presId="urn:microsoft.com/office/officeart/2005/8/layout/orgChart1"/>
    <dgm:cxn modelId="{60F9C122-F131-4944-AF60-9DD7AA96512F}" type="presParOf" srcId="{B53D94EE-83B6-424E-B3FE-1B66AEE7C251}" destId="{C850A461-D313-4954-BFB5-B7C867EF3BF7}" srcOrd="0" destOrd="0" presId="urn:microsoft.com/office/officeart/2005/8/layout/orgChart1"/>
    <dgm:cxn modelId="{91FD30D3-8B76-4773-AE48-0B2FFE17AAA1}" type="presParOf" srcId="{C850A461-D313-4954-BFB5-B7C867EF3BF7}" destId="{4866D584-2985-4591-A5A4-DD3473F07AA4}" srcOrd="0" destOrd="0" presId="urn:microsoft.com/office/officeart/2005/8/layout/orgChart1"/>
    <dgm:cxn modelId="{6ABDC2E8-49D0-43F4-9F6B-4845C2F6FBC6}" type="presParOf" srcId="{C850A461-D313-4954-BFB5-B7C867EF3BF7}" destId="{7F034C3A-58FD-4DF4-BB0E-2631E2904942}" srcOrd="1" destOrd="0" presId="urn:microsoft.com/office/officeart/2005/8/layout/orgChart1"/>
    <dgm:cxn modelId="{3FDA2750-3862-4731-AD19-0E8353FE19AA}" type="presParOf" srcId="{B53D94EE-83B6-424E-B3FE-1B66AEE7C251}" destId="{33A14458-C4A0-42E0-A95A-8A39005D83F9}" srcOrd="1" destOrd="0" presId="urn:microsoft.com/office/officeart/2005/8/layout/orgChart1"/>
    <dgm:cxn modelId="{9C228CD1-5D2E-411D-931F-D55F29BBCB0E}" type="presParOf" srcId="{B53D94EE-83B6-424E-B3FE-1B66AEE7C251}" destId="{B4297292-87E8-4D1F-9416-244764E5D188}" srcOrd="2" destOrd="0" presId="urn:microsoft.com/office/officeart/2005/8/layout/orgChart1"/>
    <dgm:cxn modelId="{EE804A49-6739-4246-87F8-9766F5DD4F63}" type="presParOf" srcId="{37CB7299-9BF9-41DE-A8D4-7FAD5318BF35}" destId="{98380853-91E8-4A2D-9DF6-1C674B88151B}" srcOrd="2" destOrd="0" presId="urn:microsoft.com/office/officeart/2005/8/layout/orgChart1"/>
    <dgm:cxn modelId="{5C12D16D-9E19-4ACF-A8F5-526BC77CE34A}" type="presParOf" srcId="{A2D99510-55E2-4F7C-9B85-9BD3CB214B47}" destId="{FC9075DC-35EA-4A61-813F-93731E7D5A67}" srcOrd="8" destOrd="0" presId="urn:microsoft.com/office/officeart/2005/8/layout/orgChart1"/>
    <dgm:cxn modelId="{211D3668-58E2-4439-B302-28AF4415BFF7}" type="presParOf" srcId="{A2D99510-55E2-4F7C-9B85-9BD3CB214B47}" destId="{97E4201C-30EC-4553-B5B1-2B3B13EB6209}" srcOrd="9" destOrd="0" presId="urn:microsoft.com/office/officeart/2005/8/layout/orgChart1"/>
    <dgm:cxn modelId="{83F54A6C-0582-483D-9F20-32BA6892A484}" type="presParOf" srcId="{97E4201C-30EC-4553-B5B1-2B3B13EB6209}" destId="{DA86A801-6340-4AF7-B49E-2CFABCF9B599}" srcOrd="0" destOrd="0" presId="urn:microsoft.com/office/officeart/2005/8/layout/orgChart1"/>
    <dgm:cxn modelId="{AE022AB5-C546-4BD8-AAF0-7DBC20F6E05D}" type="presParOf" srcId="{DA86A801-6340-4AF7-B49E-2CFABCF9B599}" destId="{368C8B65-E41D-482C-9B21-EBE85602CE43}" srcOrd="0" destOrd="0" presId="urn:microsoft.com/office/officeart/2005/8/layout/orgChart1"/>
    <dgm:cxn modelId="{E2D2BE73-6C20-49A4-B7D4-A6B4D6728296}" type="presParOf" srcId="{DA86A801-6340-4AF7-B49E-2CFABCF9B599}" destId="{72FF2892-EDDC-4593-94FE-E2A6A1D0D788}" srcOrd="1" destOrd="0" presId="urn:microsoft.com/office/officeart/2005/8/layout/orgChart1"/>
    <dgm:cxn modelId="{92CBA2DB-AE82-4183-B02F-C45F57FE9810}" type="presParOf" srcId="{97E4201C-30EC-4553-B5B1-2B3B13EB6209}" destId="{004DC47B-DCEA-41B4-A642-47A0AEC6362A}" srcOrd="1" destOrd="0" presId="urn:microsoft.com/office/officeart/2005/8/layout/orgChart1"/>
    <dgm:cxn modelId="{FA01273C-8F8A-4943-A409-3657BD2D63A3}" type="presParOf" srcId="{004DC47B-DCEA-41B4-A642-47A0AEC6362A}" destId="{8A8E57CA-10F5-473F-81B5-C0CB20CA8100}" srcOrd="0" destOrd="0" presId="urn:microsoft.com/office/officeart/2005/8/layout/orgChart1"/>
    <dgm:cxn modelId="{348FD6F4-632A-4ABF-AA2B-5AEB522D468E}" type="presParOf" srcId="{004DC47B-DCEA-41B4-A642-47A0AEC6362A}" destId="{E708EBF4-F74C-4AC8-A20F-4D1D86FA2A33}" srcOrd="1" destOrd="0" presId="urn:microsoft.com/office/officeart/2005/8/layout/orgChart1"/>
    <dgm:cxn modelId="{16B4BD50-4D01-459C-87F2-507CE525DF37}" type="presParOf" srcId="{E708EBF4-F74C-4AC8-A20F-4D1D86FA2A33}" destId="{B4F2BEBD-B684-448F-8207-AD66B5DAA925}" srcOrd="0" destOrd="0" presId="urn:microsoft.com/office/officeart/2005/8/layout/orgChart1"/>
    <dgm:cxn modelId="{F81BC78C-A598-4E23-BBDD-FB1C9F10598B}" type="presParOf" srcId="{B4F2BEBD-B684-448F-8207-AD66B5DAA925}" destId="{0343E82B-C6F1-48DA-B486-FE99E239E281}" srcOrd="0" destOrd="0" presId="urn:microsoft.com/office/officeart/2005/8/layout/orgChart1"/>
    <dgm:cxn modelId="{DD5FF15E-20BE-410A-979C-6FF02514FADB}" type="presParOf" srcId="{B4F2BEBD-B684-448F-8207-AD66B5DAA925}" destId="{013D0CD7-46DA-4A6D-9BAD-E6FE3B4D28F6}" srcOrd="1" destOrd="0" presId="urn:microsoft.com/office/officeart/2005/8/layout/orgChart1"/>
    <dgm:cxn modelId="{EFFD89D8-3E58-4FFE-8A9E-CCBF9C4650CE}" type="presParOf" srcId="{E708EBF4-F74C-4AC8-A20F-4D1D86FA2A33}" destId="{FC6F1FEC-CD57-4549-A519-DEDBFF4657C6}" srcOrd="1" destOrd="0" presId="urn:microsoft.com/office/officeart/2005/8/layout/orgChart1"/>
    <dgm:cxn modelId="{BAD51AF9-62D6-4749-9E33-0880918A2026}" type="presParOf" srcId="{E708EBF4-F74C-4AC8-A20F-4D1D86FA2A33}" destId="{415618EF-AC17-4B2B-8B70-82476263D382}" srcOrd="2" destOrd="0" presId="urn:microsoft.com/office/officeart/2005/8/layout/orgChart1"/>
    <dgm:cxn modelId="{E0DC0055-9B0C-4FE2-9F11-21201A7F4207}" type="presParOf" srcId="{004DC47B-DCEA-41B4-A642-47A0AEC6362A}" destId="{9545F10F-0187-4226-B129-6A06FC3DF3A3}" srcOrd="2" destOrd="0" presId="urn:microsoft.com/office/officeart/2005/8/layout/orgChart1"/>
    <dgm:cxn modelId="{37A46FF3-244F-4849-8758-95321D274D7A}" type="presParOf" srcId="{004DC47B-DCEA-41B4-A642-47A0AEC6362A}" destId="{4D6ED255-9349-4755-A354-034D718506BD}" srcOrd="3" destOrd="0" presId="urn:microsoft.com/office/officeart/2005/8/layout/orgChart1"/>
    <dgm:cxn modelId="{1BC7FC97-6F8B-4E89-87A2-AF0615D49A86}" type="presParOf" srcId="{4D6ED255-9349-4755-A354-034D718506BD}" destId="{3D0DFA10-7F39-4DAD-99E4-2D99CC70C9DA}" srcOrd="0" destOrd="0" presId="urn:microsoft.com/office/officeart/2005/8/layout/orgChart1"/>
    <dgm:cxn modelId="{3580DE02-529F-4FE4-9AB7-3133729EE357}" type="presParOf" srcId="{3D0DFA10-7F39-4DAD-99E4-2D99CC70C9DA}" destId="{14ACAB7D-6C11-403C-8CB1-BF18E2CF0E5B}" srcOrd="0" destOrd="0" presId="urn:microsoft.com/office/officeart/2005/8/layout/orgChart1"/>
    <dgm:cxn modelId="{70A79A14-A90B-427A-AA1B-CF23ECA6C3F3}" type="presParOf" srcId="{3D0DFA10-7F39-4DAD-99E4-2D99CC70C9DA}" destId="{B226F9F0-541F-4BCA-B9F1-7EFE82535BFC}" srcOrd="1" destOrd="0" presId="urn:microsoft.com/office/officeart/2005/8/layout/orgChart1"/>
    <dgm:cxn modelId="{CAB6B9B7-01A5-4776-A8CC-0B7A563DA698}" type="presParOf" srcId="{4D6ED255-9349-4755-A354-034D718506BD}" destId="{1B31C5D6-F3DA-4F1D-A1F2-289A9835944E}" srcOrd="1" destOrd="0" presId="urn:microsoft.com/office/officeart/2005/8/layout/orgChart1"/>
    <dgm:cxn modelId="{06E78568-74FD-4C67-9BF6-B4A829C07316}" type="presParOf" srcId="{4D6ED255-9349-4755-A354-034D718506BD}" destId="{B8A27986-9792-4BF1-92D3-EEB904F57179}" srcOrd="2" destOrd="0" presId="urn:microsoft.com/office/officeart/2005/8/layout/orgChart1"/>
    <dgm:cxn modelId="{8AF63D95-81A8-4CEC-B1CF-F1DA74B169C6}" type="presParOf" srcId="{97E4201C-30EC-4553-B5B1-2B3B13EB6209}" destId="{1F9F1541-9F67-402C-B5F2-9C5127185ECD}" srcOrd="2" destOrd="0" presId="urn:microsoft.com/office/officeart/2005/8/layout/orgChart1"/>
    <dgm:cxn modelId="{FD93DD79-ABD8-4EE7-A290-CBF22CEA71AE}" type="presParOf" srcId="{A2D99510-55E2-4F7C-9B85-9BD3CB214B47}" destId="{ECB6D82A-6A8A-432A-A1E5-89CEFA866224}" srcOrd="10" destOrd="0" presId="urn:microsoft.com/office/officeart/2005/8/layout/orgChart1"/>
    <dgm:cxn modelId="{8EA52666-0A0F-4864-8C17-6CA8C38787AF}" type="presParOf" srcId="{A2D99510-55E2-4F7C-9B85-9BD3CB214B47}" destId="{EC9F9747-599E-4432-AB8B-D51E6EAC0B92}" srcOrd="11" destOrd="0" presId="urn:microsoft.com/office/officeart/2005/8/layout/orgChart1"/>
    <dgm:cxn modelId="{4136CFE1-6C50-4C16-8279-A756200906C5}" type="presParOf" srcId="{EC9F9747-599E-4432-AB8B-D51E6EAC0B92}" destId="{A09BDBFE-6ED3-4908-8DA9-94486218CFC2}" srcOrd="0" destOrd="0" presId="urn:microsoft.com/office/officeart/2005/8/layout/orgChart1"/>
    <dgm:cxn modelId="{036105E0-E097-4E85-AE67-E80F8C5AE918}" type="presParOf" srcId="{A09BDBFE-6ED3-4908-8DA9-94486218CFC2}" destId="{E84F247F-0397-425B-823B-16B33C324032}" srcOrd="0" destOrd="0" presId="urn:microsoft.com/office/officeart/2005/8/layout/orgChart1"/>
    <dgm:cxn modelId="{F99CFAA0-3508-4327-8E5D-E7E67B7F036D}" type="presParOf" srcId="{A09BDBFE-6ED3-4908-8DA9-94486218CFC2}" destId="{7EA7BB40-454A-4663-BE76-09A6EE6A4229}" srcOrd="1" destOrd="0" presId="urn:microsoft.com/office/officeart/2005/8/layout/orgChart1"/>
    <dgm:cxn modelId="{6D297E54-1ABB-4EB9-A4F4-B2723565DB42}" type="presParOf" srcId="{EC9F9747-599E-4432-AB8B-D51E6EAC0B92}" destId="{E38CE9B0-12BA-4C29-B752-B62F0AAB549D}" srcOrd="1" destOrd="0" presId="urn:microsoft.com/office/officeart/2005/8/layout/orgChart1"/>
    <dgm:cxn modelId="{8D504CF2-048A-4A05-92AC-0ED4ADBF0ABB}" type="presParOf" srcId="{E38CE9B0-12BA-4C29-B752-B62F0AAB549D}" destId="{C0C1734D-79E4-4D26-9F8E-78EED392BD27}" srcOrd="0" destOrd="0" presId="urn:microsoft.com/office/officeart/2005/8/layout/orgChart1"/>
    <dgm:cxn modelId="{995BF9A9-4B18-4F70-96DA-DC05376EF2D3}" type="presParOf" srcId="{E38CE9B0-12BA-4C29-B752-B62F0AAB549D}" destId="{26C7AB6C-4545-479F-821F-0F43A2F26645}" srcOrd="1" destOrd="0" presId="urn:microsoft.com/office/officeart/2005/8/layout/orgChart1"/>
    <dgm:cxn modelId="{4BEE4950-B2BF-474D-86C2-8A1019DFD53B}" type="presParOf" srcId="{26C7AB6C-4545-479F-821F-0F43A2F26645}" destId="{DCBB3FD3-AFF8-4C57-A910-60E0374E513B}" srcOrd="0" destOrd="0" presId="urn:microsoft.com/office/officeart/2005/8/layout/orgChart1"/>
    <dgm:cxn modelId="{3DF9F98C-5BBA-480F-A81B-DC33F37C7CA1}" type="presParOf" srcId="{DCBB3FD3-AFF8-4C57-A910-60E0374E513B}" destId="{EC369270-0B96-4B44-A704-B07257F79DD2}" srcOrd="0" destOrd="0" presId="urn:microsoft.com/office/officeart/2005/8/layout/orgChart1"/>
    <dgm:cxn modelId="{7BFE7CC2-0C7F-4144-8E9E-B2A116FEFD17}" type="presParOf" srcId="{DCBB3FD3-AFF8-4C57-A910-60E0374E513B}" destId="{7D4E5564-99CC-49A4-B768-548321438AF3}" srcOrd="1" destOrd="0" presId="urn:microsoft.com/office/officeart/2005/8/layout/orgChart1"/>
    <dgm:cxn modelId="{17D6CDE9-EB54-4225-8BCF-8288DEB7C9EB}" type="presParOf" srcId="{26C7AB6C-4545-479F-821F-0F43A2F26645}" destId="{57C91A8F-71A1-42AF-9ADD-C438E4D79E0C}" srcOrd="1" destOrd="0" presId="urn:microsoft.com/office/officeart/2005/8/layout/orgChart1"/>
    <dgm:cxn modelId="{3EEB835C-75C2-4DF6-B686-FC90AACDA306}" type="presParOf" srcId="{26C7AB6C-4545-479F-821F-0F43A2F26645}" destId="{97574F19-EC3C-4A35-A3E1-A0839F055C7D}" srcOrd="2" destOrd="0" presId="urn:microsoft.com/office/officeart/2005/8/layout/orgChart1"/>
    <dgm:cxn modelId="{8419176E-6C39-4D71-A370-BCA9272A930E}" type="presParOf" srcId="{E38CE9B0-12BA-4C29-B752-B62F0AAB549D}" destId="{A8BD005A-13B6-4419-B7CE-1E994173B159}" srcOrd="2" destOrd="0" presId="urn:microsoft.com/office/officeart/2005/8/layout/orgChart1"/>
    <dgm:cxn modelId="{B6B64A71-CD1B-493A-9B63-2C5CE6A8F8E4}" type="presParOf" srcId="{E38CE9B0-12BA-4C29-B752-B62F0AAB549D}" destId="{15989BAA-3CE2-49B7-AF80-232491F63EE9}" srcOrd="3" destOrd="0" presId="urn:microsoft.com/office/officeart/2005/8/layout/orgChart1"/>
    <dgm:cxn modelId="{62F7C698-FD2B-4A4F-86C5-F70367A930A6}" type="presParOf" srcId="{15989BAA-3CE2-49B7-AF80-232491F63EE9}" destId="{086F5042-C129-47B1-9576-097506531598}" srcOrd="0" destOrd="0" presId="urn:microsoft.com/office/officeart/2005/8/layout/orgChart1"/>
    <dgm:cxn modelId="{6B9048FA-FF14-40BE-ACA6-510DCC933D16}" type="presParOf" srcId="{086F5042-C129-47B1-9576-097506531598}" destId="{CAA10B07-C1CF-457F-B784-6B2E3C1FF820}" srcOrd="0" destOrd="0" presId="urn:microsoft.com/office/officeart/2005/8/layout/orgChart1"/>
    <dgm:cxn modelId="{B061DD21-1318-4098-9852-CC17D9007179}" type="presParOf" srcId="{086F5042-C129-47B1-9576-097506531598}" destId="{0F2E3CF4-54D6-4AC1-A82A-B2FE09D823BA}" srcOrd="1" destOrd="0" presId="urn:microsoft.com/office/officeart/2005/8/layout/orgChart1"/>
    <dgm:cxn modelId="{C2FD3495-A324-4381-A7A6-A1C698BC3FB6}" type="presParOf" srcId="{15989BAA-3CE2-49B7-AF80-232491F63EE9}" destId="{311B4D91-4FE6-4916-85FC-C904AA087CF8}" srcOrd="1" destOrd="0" presId="urn:microsoft.com/office/officeart/2005/8/layout/orgChart1"/>
    <dgm:cxn modelId="{B2965D8F-3740-4929-95E3-2F175F48BEA5}" type="presParOf" srcId="{15989BAA-3CE2-49B7-AF80-232491F63EE9}" destId="{EE02BA91-A73B-48FA-BB18-26B5161D8880}" srcOrd="2" destOrd="0" presId="urn:microsoft.com/office/officeart/2005/8/layout/orgChart1"/>
    <dgm:cxn modelId="{CD87CE01-09E0-4176-B0AA-D00C5D4A14E5}" type="presParOf" srcId="{EC9F9747-599E-4432-AB8B-D51E6EAC0B92}" destId="{E6632782-304F-4302-A23A-7153ACECFF57}" srcOrd="2" destOrd="0" presId="urn:microsoft.com/office/officeart/2005/8/layout/orgChart1"/>
    <dgm:cxn modelId="{D3F3DB29-A39B-4E4A-A8FF-A1A10B7E6E22}" type="presParOf" srcId="{A2D99510-55E2-4F7C-9B85-9BD3CB214B47}" destId="{1ED42500-912C-4715-A9D0-0074992F1B0F}" srcOrd="12" destOrd="0" presId="urn:microsoft.com/office/officeart/2005/8/layout/orgChart1"/>
    <dgm:cxn modelId="{F382721E-85A4-4884-BA71-3EF795253800}" type="presParOf" srcId="{A2D99510-55E2-4F7C-9B85-9BD3CB214B47}" destId="{783BC498-CC0A-4FC0-B52D-3665997B0775}" srcOrd="13" destOrd="0" presId="urn:microsoft.com/office/officeart/2005/8/layout/orgChart1"/>
    <dgm:cxn modelId="{A87C9A8C-A425-478A-A041-025DB83286CD}" type="presParOf" srcId="{783BC498-CC0A-4FC0-B52D-3665997B0775}" destId="{19EE82E1-40B4-4365-BB3E-12713EA3374A}" srcOrd="0" destOrd="0" presId="urn:microsoft.com/office/officeart/2005/8/layout/orgChart1"/>
    <dgm:cxn modelId="{E1CFFB7E-2828-4494-BFB3-BBE008BA4CEF}" type="presParOf" srcId="{19EE82E1-40B4-4365-BB3E-12713EA3374A}" destId="{462A7BCE-C227-4277-9437-A99CC96A5257}" srcOrd="0" destOrd="0" presId="urn:microsoft.com/office/officeart/2005/8/layout/orgChart1"/>
    <dgm:cxn modelId="{18710380-E46A-4D89-873E-F262378B85C5}" type="presParOf" srcId="{19EE82E1-40B4-4365-BB3E-12713EA3374A}" destId="{80C6BAC8-E013-410E-8324-BCA921A04321}" srcOrd="1" destOrd="0" presId="urn:microsoft.com/office/officeart/2005/8/layout/orgChart1"/>
    <dgm:cxn modelId="{73C86804-6FAE-4CC7-8DDB-0D4385D94812}" type="presParOf" srcId="{783BC498-CC0A-4FC0-B52D-3665997B0775}" destId="{C6D676D4-92BB-452E-B9B0-5383FE13FF7C}" srcOrd="1" destOrd="0" presId="urn:microsoft.com/office/officeart/2005/8/layout/orgChart1"/>
    <dgm:cxn modelId="{D35C96F9-B2F6-458D-8184-4CABE3F75DB4}" type="presParOf" srcId="{C6D676D4-92BB-452E-B9B0-5383FE13FF7C}" destId="{C5FAED33-EE50-4109-BAA0-0646053E8180}" srcOrd="0" destOrd="0" presId="urn:microsoft.com/office/officeart/2005/8/layout/orgChart1"/>
    <dgm:cxn modelId="{B1EF9CFD-EBC0-4DC0-A949-F40BC4B18EFF}" type="presParOf" srcId="{C6D676D4-92BB-452E-B9B0-5383FE13FF7C}" destId="{5E367080-A21E-4FDF-B035-E4EDE774911A}" srcOrd="1" destOrd="0" presId="urn:microsoft.com/office/officeart/2005/8/layout/orgChart1"/>
    <dgm:cxn modelId="{DD6D637C-C475-415A-B33C-96107DDF8032}" type="presParOf" srcId="{5E367080-A21E-4FDF-B035-E4EDE774911A}" destId="{E7E14CF5-AF7E-49AC-B2F0-C52B38D5F5C3}" srcOrd="0" destOrd="0" presId="urn:microsoft.com/office/officeart/2005/8/layout/orgChart1"/>
    <dgm:cxn modelId="{79C1CF0B-3492-4AE2-B729-6F8235DB2174}" type="presParOf" srcId="{E7E14CF5-AF7E-49AC-B2F0-C52B38D5F5C3}" destId="{2B96D054-8CF5-42B7-B150-A83AECB6A757}" srcOrd="0" destOrd="0" presId="urn:microsoft.com/office/officeart/2005/8/layout/orgChart1"/>
    <dgm:cxn modelId="{14B7D69D-476B-4330-B45C-F6A803215F65}" type="presParOf" srcId="{E7E14CF5-AF7E-49AC-B2F0-C52B38D5F5C3}" destId="{3C675C3B-CD93-4115-8E8E-438206F8C0F9}" srcOrd="1" destOrd="0" presId="urn:microsoft.com/office/officeart/2005/8/layout/orgChart1"/>
    <dgm:cxn modelId="{2E914394-E840-4E22-BA79-615FAC407116}" type="presParOf" srcId="{5E367080-A21E-4FDF-B035-E4EDE774911A}" destId="{1E6BC014-708A-4F82-AC8D-A9EE16230EE0}" srcOrd="1" destOrd="0" presId="urn:microsoft.com/office/officeart/2005/8/layout/orgChart1"/>
    <dgm:cxn modelId="{84A2B8F2-2FF0-4937-A8B2-8D7E5C6F632C}" type="presParOf" srcId="{5E367080-A21E-4FDF-B035-E4EDE774911A}" destId="{A1882686-E1DE-4994-87DA-9207B10B84F9}" srcOrd="2" destOrd="0" presId="urn:microsoft.com/office/officeart/2005/8/layout/orgChart1"/>
    <dgm:cxn modelId="{A2F6EA86-C74E-455A-BFCD-4FE37EA39F69}" type="presParOf" srcId="{C6D676D4-92BB-452E-B9B0-5383FE13FF7C}" destId="{2E923624-FD1D-48AE-ACC7-34D29C06564F}" srcOrd="2" destOrd="0" presId="urn:microsoft.com/office/officeart/2005/8/layout/orgChart1"/>
    <dgm:cxn modelId="{8E1E994C-7770-4488-93E2-15661D95222B}" type="presParOf" srcId="{C6D676D4-92BB-452E-B9B0-5383FE13FF7C}" destId="{E4288D62-076E-48DD-9EF5-A1F420420367}" srcOrd="3" destOrd="0" presId="urn:microsoft.com/office/officeart/2005/8/layout/orgChart1"/>
    <dgm:cxn modelId="{153AE5D3-4AEE-42DE-9920-22A1B1D2D7A6}" type="presParOf" srcId="{E4288D62-076E-48DD-9EF5-A1F420420367}" destId="{522CB6BC-D969-467E-BEE5-03D4CAA76163}" srcOrd="0" destOrd="0" presId="urn:microsoft.com/office/officeart/2005/8/layout/orgChart1"/>
    <dgm:cxn modelId="{11C420A5-81D6-4360-B520-B2DD533A2AD4}" type="presParOf" srcId="{522CB6BC-D969-467E-BEE5-03D4CAA76163}" destId="{F9710AF4-954F-4A82-B7F7-21E813551464}" srcOrd="0" destOrd="0" presId="urn:microsoft.com/office/officeart/2005/8/layout/orgChart1"/>
    <dgm:cxn modelId="{D32BB21B-EACE-42A7-8957-58752FA983FF}" type="presParOf" srcId="{522CB6BC-D969-467E-BEE5-03D4CAA76163}" destId="{5B118D3B-78DF-4FA8-A9BD-32892B53E0A6}" srcOrd="1" destOrd="0" presId="urn:microsoft.com/office/officeart/2005/8/layout/orgChart1"/>
    <dgm:cxn modelId="{2663D51C-1D62-4A59-8004-F40BAA000F63}" type="presParOf" srcId="{E4288D62-076E-48DD-9EF5-A1F420420367}" destId="{3BEB5C43-A7D6-44CE-B946-B5219657F3C1}" srcOrd="1" destOrd="0" presId="urn:microsoft.com/office/officeart/2005/8/layout/orgChart1"/>
    <dgm:cxn modelId="{324FEBA2-A4E4-4324-9FA9-7D8DAFEDBDEB}" type="presParOf" srcId="{E4288D62-076E-48DD-9EF5-A1F420420367}" destId="{0778934F-60D8-4C0D-AEBB-FE04C1EED02C}" srcOrd="2" destOrd="0" presId="urn:microsoft.com/office/officeart/2005/8/layout/orgChart1"/>
    <dgm:cxn modelId="{0DBB0483-438E-48C4-88BA-102B72757DA1}" type="presParOf" srcId="{C6D676D4-92BB-452E-B9B0-5383FE13FF7C}" destId="{07A20742-FBDD-4022-A0AA-DB7D506A479A}" srcOrd="4" destOrd="0" presId="urn:microsoft.com/office/officeart/2005/8/layout/orgChart1"/>
    <dgm:cxn modelId="{19297195-7861-4460-B823-6E1F7F134EF5}" type="presParOf" srcId="{C6D676D4-92BB-452E-B9B0-5383FE13FF7C}" destId="{52136D02-E28D-4FD1-B12F-E9361B04BA90}" srcOrd="5" destOrd="0" presId="urn:microsoft.com/office/officeart/2005/8/layout/orgChart1"/>
    <dgm:cxn modelId="{8C1CA1A2-E486-41EC-8D95-A9C32CFE99E8}" type="presParOf" srcId="{52136D02-E28D-4FD1-B12F-E9361B04BA90}" destId="{2BAEE663-4C88-4E33-B598-FDECE1D76056}" srcOrd="0" destOrd="0" presId="urn:microsoft.com/office/officeart/2005/8/layout/orgChart1"/>
    <dgm:cxn modelId="{C6603D68-2081-493E-84AC-FA85B3C47FE3}" type="presParOf" srcId="{2BAEE663-4C88-4E33-B598-FDECE1D76056}" destId="{3E2BB393-FF31-44C4-80ED-644420E5C84C}" srcOrd="0" destOrd="0" presId="urn:microsoft.com/office/officeart/2005/8/layout/orgChart1"/>
    <dgm:cxn modelId="{33198094-6030-4B0A-8CB1-080EB898D6E5}" type="presParOf" srcId="{2BAEE663-4C88-4E33-B598-FDECE1D76056}" destId="{91E537DF-B60C-4CD1-8622-36A2D0DE6575}" srcOrd="1" destOrd="0" presId="urn:microsoft.com/office/officeart/2005/8/layout/orgChart1"/>
    <dgm:cxn modelId="{576A9CA4-D6C1-486C-B141-7B93107FE1F8}" type="presParOf" srcId="{52136D02-E28D-4FD1-B12F-E9361B04BA90}" destId="{A9F5658B-FDF3-4283-9FC2-5D7C08BDFD52}" srcOrd="1" destOrd="0" presId="urn:microsoft.com/office/officeart/2005/8/layout/orgChart1"/>
    <dgm:cxn modelId="{89685E10-4EB3-41B5-9307-0FBD381DCA19}" type="presParOf" srcId="{52136D02-E28D-4FD1-B12F-E9361B04BA90}" destId="{396148E0-6F72-47BB-A3A5-586D1B290C8C}" srcOrd="2" destOrd="0" presId="urn:microsoft.com/office/officeart/2005/8/layout/orgChart1"/>
    <dgm:cxn modelId="{553EE4AC-6381-4A27-806B-6645D244236A}" type="presParOf" srcId="{C6D676D4-92BB-452E-B9B0-5383FE13FF7C}" destId="{521AF49D-5E3F-4FA0-9028-A595FBC4BA63}" srcOrd="6" destOrd="0" presId="urn:microsoft.com/office/officeart/2005/8/layout/orgChart1"/>
    <dgm:cxn modelId="{5BE4B5C6-3BB3-43B8-9ADB-2180DAAB7FED}" type="presParOf" srcId="{C6D676D4-92BB-452E-B9B0-5383FE13FF7C}" destId="{FA3ED60B-60D7-410D-BE4C-F7B079E6A54D}" srcOrd="7" destOrd="0" presId="urn:microsoft.com/office/officeart/2005/8/layout/orgChart1"/>
    <dgm:cxn modelId="{6F59CD88-FCF4-4443-8FAE-FA587974559B}" type="presParOf" srcId="{FA3ED60B-60D7-410D-BE4C-F7B079E6A54D}" destId="{9C7877C4-4CC9-4D46-B564-302FE1F3EB8A}" srcOrd="0" destOrd="0" presId="urn:microsoft.com/office/officeart/2005/8/layout/orgChart1"/>
    <dgm:cxn modelId="{9A279510-544C-4D21-BA11-CCA5E024F7EE}" type="presParOf" srcId="{9C7877C4-4CC9-4D46-B564-302FE1F3EB8A}" destId="{D5103497-1B54-43E8-8200-478661CC0DA5}" srcOrd="0" destOrd="0" presId="urn:microsoft.com/office/officeart/2005/8/layout/orgChart1"/>
    <dgm:cxn modelId="{DEBCA2BC-E546-4897-9656-49CE038AB99E}" type="presParOf" srcId="{9C7877C4-4CC9-4D46-B564-302FE1F3EB8A}" destId="{3D4942B9-B885-46EC-8853-811F5C174A29}" srcOrd="1" destOrd="0" presId="urn:microsoft.com/office/officeart/2005/8/layout/orgChart1"/>
    <dgm:cxn modelId="{15DF3D82-29EC-4E32-891A-1422C3D7A400}" type="presParOf" srcId="{FA3ED60B-60D7-410D-BE4C-F7B079E6A54D}" destId="{8D6A12CB-F5C4-4AA7-A0B9-86FEC3D43935}" srcOrd="1" destOrd="0" presId="urn:microsoft.com/office/officeart/2005/8/layout/orgChart1"/>
    <dgm:cxn modelId="{E473A272-4DDF-4CE5-B614-6B5A1D1A9D8D}" type="presParOf" srcId="{FA3ED60B-60D7-410D-BE4C-F7B079E6A54D}" destId="{00C8E673-76B8-4701-B387-D2B53522315C}" srcOrd="2" destOrd="0" presId="urn:microsoft.com/office/officeart/2005/8/layout/orgChart1"/>
    <dgm:cxn modelId="{4098E9C7-11D8-4307-879F-7584B67BF091}" type="presParOf" srcId="{783BC498-CC0A-4FC0-B52D-3665997B0775}" destId="{FB96D737-4157-40E5-BA46-F774B0E51183}" srcOrd="2" destOrd="0" presId="urn:microsoft.com/office/officeart/2005/8/layout/orgChart1"/>
    <dgm:cxn modelId="{F5D3957F-38F4-4693-9452-8D1F496BAD0C}" type="presParOf" srcId="{5630906F-722C-4B74-8097-992A9E0D1202}" destId="{830F155A-6B26-4072-B001-029A2485377A}" srcOrd="2" destOrd="0" presId="urn:microsoft.com/office/officeart/2005/8/layout/orgChart1"/>
    <dgm:cxn modelId="{BED53DEB-87B6-481D-842B-015E3CF2CBF3}" type="presParOf" srcId="{830F155A-6B26-4072-B001-029A2485377A}" destId="{2822494F-E59A-467F-8D56-B9324C86E101}" srcOrd="0" destOrd="0" presId="urn:microsoft.com/office/officeart/2005/8/layout/orgChart1"/>
    <dgm:cxn modelId="{028004C5-CF75-4BFE-A3E1-74C933A85FFB}" type="presParOf" srcId="{830F155A-6B26-4072-B001-029A2485377A}" destId="{5005E1D8-4A70-4ED4-89CD-42EB078F9584}" srcOrd="1" destOrd="0" presId="urn:microsoft.com/office/officeart/2005/8/layout/orgChart1"/>
    <dgm:cxn modelId="{74634E36-FD72-4D5E-86C5-E7684F8D9B63}" type="presParOf" srcId="{5005E1D8-4A70-4ED4-89CD-42EB078F9584}" destId="{EA4799F5-CE39-4BA4-9931-35D818EF1CB9}" srcOrd="0" destOrd="0" presId="urn:microsoft.com/office/officeart/2005/8/layout/orgChart1"/>
    <dgm:cxn modelId="{FE6620D3-3FEC-4A9C-819F-BE32C15EF982}" type="presParOf" srcId="{EA4799F5-CE39-4BA4-9931-35D818EF1CB9}" destId="{A07D5470-FA21-43EA-BEE9-75BAF74C1A11}" srcOrd="0" destOrd="0" presId="urn:microsoft.com/office/officeart/2005/8/layout/orgChart1"/>
    <dgm:cxn modelId="{5BB94C9E-85DB-4B5C-94AB-6E93E6EDFA65}" type="presParOf" srcId="{EA4799F5-CE39-4BA4-9931-35D818EF1CB9}" destId="{77B18C0E-78FB-49E4-9546-9F78EC3047D6}" srcOrd="1" destOrd="0" presId="urn:microsoft.com/office/officeart/2005/8/layout/orgChart1"/>
    <dgm:cxn modelId="{47D6432E-35F3-47D1-A2D3-C02B3376B3E8}" type="presParOf" srcId="{5005E1D8-4A70-4ED4-89CD-42EB078F9584}" destId="{B1C8DE58-383A-41D0-BCD5-7AA70D480F2E}" srcOrd="1" destOrd="0" presId="urn:microsoft.com/office/officeart/2005/8/layout/orgChart1"/>
    <dgm:cxn modelId="{E48EDEE8-AB6C-4ADD-BB7B-A4202CA6FD12}" type="presParOf" srcId="{5005E1D8-4A70-4ED4-89CD-42EB078F9584}" destId="{333AB413-0029-4E15-989B-AEAEB1137CB2}" srcOrd="2" destOrd="0" presId="urn:microsoft.com/office/officeart/2005/8/layout/orgChart1"/>
    <dgm:cxn modelId="{64B55E54-EBD2-4B88-AD79-830C99D73380}" type="presParOf" srcId="{830F155A-6B26-4072-B001-029A2485377A}" destId="{42DA4DB7-4FBF-491B-909E-535821CB9AF8}" srcOrd="2" destOrd="0" presId="urn:microsoft.com/office/officeart/2005/8/layout/orgChart1"/>
    <dgm:cxn modelId="{A774DDB1-D444-47F9-ABE6-D3E517208499}" type="presParOf" srcId="{830F155A-6B26-4072-B001-029A2485377A}" destId="{899CE6F6-44D1-4E63-ACFF-FE8B06CA48FD}" srcOrd="3" destOrd="0" presId="urn:microsoft.com/office/officeart/2005/8/layout/orgChart1"/>
    <dgm:cxn modelId="{662010C8-0A02-4040-A275-AAD0872E9F63}" type="presParOf" srcId="{899CE6F6-44D1-4E63-ACFF-FE8B06CA48FD}" destId="{4A553CDA-80CE-44F3-809D-5EDDF37A87B6}" srcOrd="0" destOrd="0" presId="urn:microsoft.com/office/officeart/2005/8/layout/orgChart1"/>
    <dgm:cxn modelId="{D4EAE7B5-DA72-4506-8D84-C4CC59836587}" type="presParOf" srcId="{4A553CDA-80CE-44F3-809D-5EDDF37A87B6}" destId="{0C4E34C0-D74F-4ED8-ADAF-8EB2F65C2DED}" srcOrd="0" destOrd="0" presId="urn:microsoft.com/office/officeart/2005/8/layout/orgChart1"/>
    <dgm:cxn modelId="{A9205E72-B64D-44B8-A90A-82C5095FE5A8}" type="presParOf" srcId="{4A553CDA-80CE-44F3-809D-5EDDF37A87B6}" destId="{2E48DCE4-4783-43FF-B426-F2E35CEACD18}" srcOrd="1" destOrd="0" presId="urn:microsoft.com/office/officeart/2005/8/layout/orgChart1"/>
    <dgm:cxn modelId="{39422EA7-2048-4E74-B70E-B82B63C34F0D}" type="presParOf" srcId="{899CE6F6-44D1-4E63-ACFF-FE8B06CA48FD}" destId="{B1AC0E02-95C9-41E9-A8A6-877FC1C1C6DE}" srcOrd="1" destOrd="0" presId="urn:microsoft.com/office/officeart/2005/8/layout/orgChart1"/>
    <dgm:cxn modelId="{1C009419-EF27-440F-83FB-2594F8A116BB}" type="presParOf" srcId="{899CE6F6-44D1-4E63-ACFF-FE8B06CA48FD}" destId="{0CD475AF-E26F-49C1-9BE1-567C646D0E5B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2DA4DB7-4FBF-491B-909E-535821CB9AF8}">
      <dsp:nvSpPr>
        <dsp:cNvPr id="0" name=""/>
        <dsp:cNvSpPr/>
      </dsp:nvSpPr>
      <dsp:spPr>
        <a:xfrm>
          <a:off x="5581960" y="510165"/>
          <a:ext cx="346707" cy="63997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39977"/>
              </a:lnTo>
              <a:lnTo>
                <a:pt x="346707" y="639977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822494F-E59A-467F-8D56-B9324C86E101}">
      <dsp:nvSpPr>
        <dsp:cNvPr id="0" name=""/>
        <dsp:cNvSpPr/>
      </dsp:nvSpPr>
      <dsp:spPr>
        <a:xfrm>
          <a:off x="5435878" y="510165"/>
          <a:ext cx="146081" cy="639977"/>
        </a:xfrm>
        <a:custGeom>
          <a:avLst/>
          <a:gdLst/>
          <a:ahLst/>
          <a:cxnLst/>
          <a:rect l="0" t="0" r="0" b="0"/>
          <a:pathLst>
            <a:path>
              <a:moveTo>
                <a:pt x="146081" y="0"/>
              </a:moveTo>
              <a:lnTo>
                <a:pt x="146081" y="639977"/>
              </a:lnTo>
              <a:lnTo>
                <a:pt x="0" y="639977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21AF49D-5E3F-4FA0-9028-A595FBC4BA63}">
      <dsp:nvSpPr>
        <dsp:cNvPr id="0" name=""/>
        <dsp:cNvSpPr/>
      </dsp:nvSpPr>
      <dsp:spPr>
        <a:xfrm>
          <a:off x="9032458" y="2299701"/>
          <a:ext cx="148500" cy="295219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952190"/>
              </a:lnTo>
              <a:lnTo>
                <a:pt x="148500" y="2952190"/>
              </a:lnTo>
            </a:path>
          </a:pathLst>
        </a:cu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7A20742-FBDD-4022-A0AA-DB7D506A479A}">
      <dsp:nvSpPr>
        <dsp:cNvPr id="0" name=""/>
        <dsp:cNvSpPr/>
      </dsp:nvSpPr>
      <dsp:spPr>
        <a:xfrm>
          <a:off x="9032458" y="2299701"/>
          <a:ext cx="148500" cy="215044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50444"/>
              </a:lnTo>
              <a:lnTo>
                <a:pt x="148500" y="2150444"/>
              </a:lnTo>
            </a:path>
          </a:pathLst>
        </a:cu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E923624-FD1D-48AE-ACC7-34D29C06564F}">
      <dsp:nvSpPr>
        <dsp:cNvPr id="0" name=""/>
        <dsp:cNvSpPr/>
      </dsp:nvSpPr>
      <dsp:spPr>
        <a:xfrm>
          <a:off x="9032458" y="2299701"/>
          <a:ext cx="148500" cy="13486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48699"/>
              </a:lnTo>
              <a:lnTo>
                <a:pt x="148500" y="1348699"/>
              </a:lnTo>
            </a:path>
          </a:pathLst>
        </a:cu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5FAED33-EE50-4109-BAA0-0646053E8180}">
      <dsp:nvSpPr>
        <dsp:cNvPr id="0" name=""/>
        <dsp:cNvSpPr/>
      </dsp:nvSpPr>
      <dsp:spPr>
        <a:xfrm>
          <a:off x="9032458" y="2299701"/>
          <a:ext cx="148500" cy="54695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46954"/>
              </a:lnTo>
              <a:lnTo>
                <a:pt x="148500" y="546954"/>
              </a:lnTo>
            </a:path>
          </a:pathLst>
        </a:cu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ED42500-912C-4715-A9D0-0074992F1B0F}">
      <dsp:nvSpPr>
        <dsp:cNvPr id="0" name=""/>
        <dsp:cNvSpPr/>
      </dsp:nvSpPr>
      <dsp:spPr>
        <a:xfrm>
          <a:off x="5581960" y="510165"/>
          <a:ext cx="3846498" cy="127995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33872"/>
              </a:lnTo>
              <a:lnTo>
                <a:pt x="3846498" y="1133872"/>
              </a:lnTo>
              <a:lnTo>
                <a:pt x="3846498" y="1279954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8BD005A-13B6-4419-B7CE-1E994173B159}">
      <dsp:nvSpPr>
        <dsp:cNvPr id="0" name=""/>
        <dsp:cNvSpPr/>
      </dsp:nvSpPr>
      <dsp:spPr>
        <a:xfrm>
          <a:off x="7750292" y="2299701"/>
          <a:ext cx="148500" cy="13486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48699"/>
              </a:lnTo>
              <a:lnTo>
                <a:pt x="148500" y="1348699"/>
              </a:lnTo>
            </a:path>
          </a:pathLst>
        </a:cu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0C1734D-79E4-4D26-9F8E-78EED392BD27}">
      <dsp:nvSpPr>
        <dsp:cNvPr id="0" name=""/>
        <dsp:cNvSpPr/>
      </dsp:nvSpPr>
      <dsp:spPr>
        <a:xfrm>
          <a:off x="7750292" y="2299701"/>
          <a:ext cx="148500" cy="54695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46954"/>
              </a:lnTo>
              <a:lnTo>
                <a:pt x="148500" y="546954"/>
              </a:lnTo>
            </a:path>
          </a:pathLst>
        </a:cu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CB6D82A-6A8A-432A-A1E5-89CEFA866224}">
      <dsp:nvSpPr>
        <dsp:cNvPr id="0" name=""/>
        <dsp:cNvSpPr/>
      </dsp:nvSpPr>
      <dsp:spPr>
        <a:xfrm>
          <a:off x="5581960" y="510165"/>
          <a:ext cx="2564332" cy="127995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33872"/>
              </a:lnTo>
              <a:lnTo>
                <a:pt x="2564332" y="1133872"/>
              </a:lnTo>
              <a:lnTo>
                <a:pt x="2564332" y="1279954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545F10F-0187-4226-B129-6A06FC3DF3A3}">
      <dsp:nvSpPr>
        <dsp:cNvPr id="0" name=""/>
        <dsp:cNvSpPr/>
      </dsp:nvSpPr>
      <dsp:spPr>
        <a:xfrm>
          <a:off x="6468125" y="2299701"/>
          <a:ext cx="148500" cy="13486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48699"/>
              </a:lnTo>
              <a:lnTo>
                <a:pt x="148500" y="1348699"/>
              </a:lnTo>
            </a:path>
          </a:pathLst>
        </a:cu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A8E57CA-10F5-473F-81B5-C0CB20CA8100}">
      <dsp:nvSpPr>
        <dsp:cNvPr id="0" name=""/>
        <dsp:cNvSpPr/>
      </dsp:nvSpPr>
      <dsp:spPr>
        <a:xfrm>
          <a:off x="6468125" y="2299701"/>
          <a:ext cx="148500" cy="54695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46954"/>
              </a:lnTo>
              <a:lnTo>
                <a:pt x="148500" y="546954"/>
              </a:lnTo>
            </a:path>
          </a:pathLst>
        </a:cu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C9075DC-35EA-4A61-813F-93731E7D5A67}">
      <dsp:nvSpPr>
        <dsp:cNvPr id="0" name=""/>
        <dsp:cNvSpPr/>
      </dsp:nvSpPr>
      <dsp:spPr>
        <a:xfrm>
          <a:off x="5581960" y="510165"/>
          <a:ext cx="1282166" cy="127995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33872"/>
              </a:lnTo>
              <a:lnTo>
                <a:pt x="1282166" y="1133872"/>
              </a:lnTo>
              <a:lnTo>
                <a:pt x="1282166" y="1279954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E691B9D-8A81-41C9-9537-6DD7A99DE0E3}">
      <dsp:nvSpPr>
        <dsp:cNvPr id="0" name=""/>
        <dsp:cNvSpPr/>
      </dsp:nvSpPr>
      <dsp:spPr>
        <a:xfrm>
          <a:off x="5185959" y="2299701"/>
          <a:ext cx="148500" cy="13486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48699"/>
              </a:lnTo>
              <a:lnTo>
                <a:pt x="148500" y="1348699"/>
              </a:lnTo>
            </a:path>
          </a:pathLst>
        </a:cu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9067820-ABF4-4847-AA44-A1C63250F33F}">
      <dsp:nvSpPr>
        <dsp:cNvPr id="0" name=""/>
        <dsp:cNvSpPr/>
      </dsp:nvSpPr>
      <dsp:spPr>
        <a:xfrm>
          <a:off x="5185959" y="2299701"/>
          <a:ext cx="148500" cy="54695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46954"/>
              </a:lnTo>
              <a:lnTo>
                <a:pt x="148500" y="546954"/>
              </a:lnTo>
            </a:path>
          </a:pathLst>
        </a:cu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E085668-5F81-46A4-B3C8-4B7B97FCE06B}">
      <dsp:nvSpPr>
        <dsp:cNvPr id="0" name=""/>
        <dsp:cNvSpPr/>
      </dsp:nvSpPr>
      <dsp:spPr>
        <a:xfrm>
          <a:off x="5536240" y="510165"/>
          <a:ext cx="91440" cy="1279954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279954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EA44009-D2FC-4650-A0F7-87F299BF4308}">
      <dsp:nvSpPr>
        <dsp:cNvPr id="0" name=""/>
        <dsp:cNvSpPr/>
      </dsp:nvSpPr>
      <dsp:spPr>
        <a:xfrm>
          <a:off x="3903793" y="2299701"/>
          <a:ext cx="148500" cy="13486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48699"/>
              </a:lnTo>
              <a:lnTo>
                <a:pt x="148500" y="1348699"/>
              </a:lnTo>
            </a:path>
          </a:pathLst>
        </a:cu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D447C8C-5208-400C-AC14-68BE588DECE7}">
      <dsp:nvSpPr>
        <dsp:cNvPr id="0" name=""/>
        <dsp:cNvSpPr/>
      </dsp:nvSpPr>
      <dsp:spPr>
        <a:xfrm>
          <a:off x="3903793" y="2299701"/>
          <a:ext cx="148500" cy="54695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46954"/>
              </a:lnTo>
              <a:lnTo>
                <a:pt x="148500" y="546954"/>
              </a:lnTo>
            </a:path>
          </a:pathLst>
        </a:cu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1358C00-370A-4FF4-8217-FEAEB2151FAE}">
      <dsp:nvSpPr>
        <dsp:cNvPr id="0" name=""/>
        <dsp:cNvSpPr/>
      </dsp:nvSpPr>
      <dsp:spPr>
        <a:xfrm>
          <a:off x="4299794" y="510165"/>
          <a:ext cx="1282166" cy="1279954"/>
        </a:xfrm>
        <a:custGeom>
          <a:avLst/>
          <a:gdLst/>
          <a:ahLst/>
          <a:cxnLst/>
          <a:rect l="0" t="0" r="0" b="0"/>
          <a:pathLst>
            <a:path>
              <a:moveTo>
                <a:pt x="1282166" y="0"/>
              </a:moveTo>
              <a:lnTo>
                <a:pt x="1282166" y="1133872"/>
              </a:lnTo>
              <a:lnTo>
                <a:pt x="0" y="1133872"/>
              </a:lnTo>
              <a:lnTo>
                <a:pt x="0" y="1279954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217CFF4-B211-4138-983A-90DE8D8E692D}">
      <dsp:nvSpPr>
        <dsp:cNvPr id="0" name=""/>
        <dsp:cNvSpPr/>
      </dsp:nvSpPr>
      <dsp:spPr>
        <a:xfrm>
          <a:off x="2621626" y="2299701"/>
          <a:ext cx="148500" cy="295219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952190"/>
              </a:lnTo>
              <a:lnTo>
                <a:pt x="148500" y="2952190"/>
              </a:lnTo>
            </a:path>
          </a:pathLst>
        </a:cu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B7A6DB4-DC9B-46BD-8FF4-884D8F423952}">
      <dsp:nvSpPr>
        <dsp:cNvPr id="0" name=""/>
        <dsp:cNvSpPr/>
      </dsp:nvSpPr>
      <dsp:spPr>
        <a:xfrm>
          <a:off x="2621626" y="2299701"/>
          <a:ext cx="148500" cy="215044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50444"/>
              </a:lnTo>
              <a:lnTo>
                <a:pt x="148500" y="2150444"/>
              </a:lnTo>
            </a:path>
          </a:pathLst>
        </a:cu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CB5168A-B09A-482B-8EC0-F83DB383CAC3}">
      <dsp:nvSpPr>
        <dsp:cNvPr id="0" name=""/>
        <dsp:cNvSpPr/>
      </dsp:nvSpPr>
      <dsp:spPr>
        <a:xfrm>
          <a:off x="2621626" y="2299701"/>
          <a:ext cx="148500" cy="13486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48699"/>
              </a:lnTo>
              <a:lnTo>
                <a:pt x="148500" y="1348699"/>
              </a:lnTo>
            </a:path>
          </a:pathLst>
        </a:cu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B90F50A-0B72-43AF-A82C-1E4F330B5C9D}">
      <dsp:nvSpPr>
        <dsp:cNvPr id="0" name=""/>
        <dsp:cNvSpPr/>
      </dsp:nvSpPr>
      <dsp:spPr>
        <a:xfrm>
          <a:off x="2621626" y="2299701"/>
          <a:ext cx="148500" cy="54695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46954"/>
              </a:lnTo>
              <a:lnTo>
                <a:pt x="148500" y="546954"/>
              </a:lnTo>
            </a:path>
          </a:pathLst>
        </a:cu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68A51AE-DECA-4013-A4D5-3972674358B0}">
      <dsp:nvSpPr>
        <dsp:cNvPr id="0" name=""/>
        <dsp:cNvSpPr/>
      </dsp:nvSpPr>
      <dsp:spPr>
        <a:xfrm>
          <a:off x="3017627" y="510165"/>
          <a:ext cx="2564332" cy="1279954"/>
        </a:xfrm>
        <a:custGeom>
          <a:avLst/>
          <a:gdLst/>
          <a:ahLst/>
          <a:cxnLst/>
          <a:rect l="0" t="0" r="0" b="0"/>
          <a:pathLst>
            <a:path>
              <a:moveTo>
                <a:pt x="2564332" y="0"/>
              </a:moveTo>
              <a:lnTo>
                <a:pt x="2564332" y="1133872"/>
              </a:lnTo>
              <a:lnTo>
                <a:pt x="0" y="1133872"/>
              </a:lnTo>
              <a:lnTo>
                <a:pt x="0" y="1279954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BA5DDBC-F8BC-4BE9-AD91-D1060BA8EE3C}">
      <dsp:nvSpPr>
        <dsp:cNvPr id="0" name=""/>
        <dsp:cNvSpPr/>
      </dsp:nvSpPr>
      <dsp:spPr>
        <a:xfrm>
          <a:off x="1339460" y="2299701"/>
          <a:ext cx="148500" cy="54695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46954"/>
              </a:lnTo>
              <a:lnTo>
                <a:pt x="148500" y="546954"/>
              </a:lnTo>
            </a:path>
          </a:pathLst>
        </a:cu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768E07E-F48E-4229-A8B7-ABF8737BF732}">
      <dsp:nvSpPr>
        <dsp:cNvPr id="0" name=""/>
        <dsp:cNvSpPr/>
      </dsp:nvSpPr>
      <dsp:spPr>
        <a:xfrm>
          <a:off x="1735461" y="510165"/>
          <a:ext cx="3846498" cy="1279954"/>
        </a:xfrm>
        <a:custGeom>
          <a:avLst/>
          <a:gdLst/>
          <a:ahLst/>
          <a:cxnLst/>
          <a:rect l="0" t="0" r="0" b="0"/>
          <a:pathLst>
            <a:path>
              <a:moveTo>
                <a:pt x="3846498" y="0"/>
              </a:moveTo>
              <a:lnTo>
                <a:pt x="3846498" y="1133872"/>
              </a:lnTo>
              <a:lnTo>
                <a:pt x="0" y="1133872"/>
              </a:lnTo>
              <a:lnTo>
                <a:pt x="0" y="1279954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FC88690-823F-4158-A029-566E82AD0A48}">
      <dsp:nvSpPr>
        <dsp:cNvPr id="0" name=""/>
        <dsp:cNvSpPr/>
      </dsp:nvSpPr>
      <dsp:spPr>
        <a:xfrm>
          <a:off x="5086959" y="584"/>
          <a:ext cx="990002" cy="509581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5715" rIns="0" bIns="5715" numCol="1" spcCol="1270" anchor="ctr" anchorCtr="0">
          <a:noAutofit/>
        </a:bodyPr>
        <a:lstStyle/>
        <a:p>
          <a:pPr marL="0" lvl="0" indent="0" algn="ctr" defTabSz="40005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000" b="0" kern="1200" spc="-70" baseline="0">
              <a:latin typeface="나눔고딕" panose="020D0604000000000000" pitchFamily="50" charset="-127"/>
              <a:ea typeface="나눔고딕" panose="020D0604000000000000" pitchFamily="50" charset="-127"/>
              <a:cs typeface="+mn-cs"/>
            </a:rPr>
            <a:t>재홟보조기구</a:t>
          </a:r>
          <a:r>
            <a:rPr lang="en-US" altLang="ko-KR" sz="1000" b="0" kern="1200" spc="-70" baseline="0">
              <a:latin typeface="나눔고딕" panose="020D0604000000000000" pitchFamily="50" charset="-127"/>
              <a:ea typeface="나눔고딕" panose="020D0604000000000000" pitchFamily="50" charset="-127"/>
              <a:cs typeface="+mn-cs"/>
            </a:rPr>
            <a:t> </a:t>
          </a:r>
          <a:r>
            <a:rPr lang="ko-KR" altLang="en-US" sz="1000" b="0" kern="1200" spc="-70" baseline="0">
              <a:latin typeface="나눔고딕" panose="020D0604000000000000" pitchFamily="50" charset="-127"/>
              <a:ea typeface="나눔고딕" panose="020D0604000000000000" pitchFamily="50" charset="-127"/>
              <a:cs typeface="+mn-cs"/>
            </a:rPr>
            <a:t>이용자</a:t>
          </a:r>
          <a:r>
            <a:rPr lang="en-US" altLang="ko-KR" sz="1000" b="0" kern="1200" spc="-70" baseline="0">
              <a:latin typeface="나눔고딕" panose="020D0604000000000000" pitchFamily="50" charset="-127"/>
              <a:ea typeface="나눔고딕" panose="020D0604000000000000" pitchFamily="50" charset="-127"/>
              <a:cs typeface="+mn-cs"/>
            </a:rPr>
            <a:t>  </a:t>
          </a:r>
          <a:r>
            <a:rPr lang="ko-KR" altLang="en-US" sz="1000" b="0" kern="1200" spc="-70" baseline="0">
              <a:latin typeface="나눔고딕" panose="020D0604000000000000" pitchFamily="50" charset="-127"/>
              <a:ea typeface="나눔고딕" panose="020D0604000000000000" pitchFamily="50" charset="-127"/>
              <a:cs typeface="+mn-cs"/>
            </a:rPr>
            <a:t>앱</a:t>
          </a:r>
          <a:endParaRPr lang="ko-KR" altLang="en-US" sz="1000" b="0" kern="1200" spc="-70" baseline="0" dirty="0">
            <a:latin typeface="나눔고딕" panose="020D0604000000000000" pitchFamily="50" charset="-127"/>
            <a:ea typeface="나눔고딕" panose="020D0604000000000000" pitchFamily="50" charset="-127"/>
            <a:cs typeface="+mn-cs"/>
          </a:endParaRPr>
        </a:p>
      </dsp:txBody>
      <dsp:txXfrm>
        <a:off x="5086959" y="584"/>
        <a:ext cx="990002" cy="509581"/>
      </dsp:txXfrm>
    </dsp:sp>
    <dsp:sp modelId="{9BB0E03A-4BD4-4C68-AE54-C9E7FCB93BCA}">
      <dsp:nvSpPr>
        <dsp:cNvPr id="0" name=""/>
        <dsp:cNvSpPr/>
      </dsp:nvSpPr>
      <dsp:spPr>
        <a:xfrm>
          <a:off x="1240460" y="1790120"/>
          <a:ext cx="990002" cy="509581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6350" rIns="0" bIns="6350" numCol="1" spcCol="1270" anchor="ctr" anchorCtr="0">
          <a:noAutofit/>
        </a:bodyPr>
        <a:lstStyle/>
        <a:p>
          <a:pPr marL="0" lvl="0" indent="0" algn="ctr" defTabSz="44450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000" b="0" kern="1200" spc="-70" baseline="0">
              <a:latin typeface="나눔고딕" panose="020D0604000000000000" pitchFamily="50" charset="-127"/>
              <a:ea typeface="나눔고딕" panose="020D0604000000000000" pitchFamily="50" charset="-127"/>
            </a:rPr>
            <a:t>홈</a:t>
          </a:r>
          <a:endParaRPr lang="ko-KR" altLang="en-US" sz="1000" b="0" kern="1200" spc="-70" baseline="0" dirty="0">
            <a:latin typeface="나눔고딕" panose="020D0604000000000000" pitchFamily="50" charset="-127"/>
            <a:ea typeface="나눔고딕" panose="020D0604000000000000" pitchFamily="50" charset="-127"/>
          </a:endParaRPr>
        </a:p>
      </dsp:txBody>
      <dsp:txXfrm>
        <a:off x="1240460" y="1790120"/>
        <a:ext cx="990002" cy="509581"/>
      </dsp:txXfrm>
    </dsp:sp>
    <dsp:sp modelId="{BC37007C-D3BD-48A6-B003-2D91750AE3F0}">
      <dsp:nvSpPr>
        <dsp:cNvPr id="0" name=""/>
        <dsp:cNvSpPr/>
      </dsp:nvSpPr>
      <dsp:spPr>
        <a:xfrm>
          <a:off x="1487960" y="2591865"/>
          <a:ext cx="990002" cy="50958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6350" rIns="0" bIns="6350" numCol="1" spcCol="1270" anchor="ctr" anchorCtr="0">
          <a:noAutofit/>
        </a:bodyPr>
        <a:lstStyle/>
        <a:p>
          <a:pPr marL="0" lvl="0" indent="0" algn="ctr" defTabSz="44450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000" b="0" kern="1200" spc="-70" baseline="0">
              <a:latin typeface="나눔고딕" panose="020D0604000000000000" pitchFamily="50" charset="-127"/>
              <a:ea typeface="나눔고딕" panose="020D0604000000000000" pitchFamily="50" charset="-127"/>
            </a:rPr>
            <a:t>홈</a:t>
          </a:r>
          <a:endParaRPr lang="ko-KR" altLang="en-US" sz="1000" b="0" kern="1200" spc="-70" baseline="0" dirty="0">
            <a:latin typeface="나눔고딕" panose="020D0604000000000000" pitchFamily="50" charset="-127"/>
            <a:ea typeface="나눔고딕" panose="020D0604000000000000" pitchFamily="50" charset="-127"/>
          </a:endParaRPr>
        </a:p>
      </dsp:txBody>
      <dsp:txXfrm>
        <a:off x="1487960" y="2591865"/>
        <a:ext cx="990002" cy="509581"/>
      </dsp:txXfrm>
    </dsp:sp>
    <dsp:sp modelId="{DCF0A5BA-E67B-496E-BC12-CBDEA646CF07}">
      <dsp:nvSpPr>
        <dsp:cNvPr id="0" name=""/>
        <dsp:cNvSpPr/>
      </dsp:nvSpPr>
      <dsp:spPr>
        <a:xfrm>
          <a:off x="2522626" y="1790120"/>
          <a:ext cx="990002" cy="509581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5715" rIns="0" bIns="5715" numCol="1" spcCol="1270" anchor="ctr" anchorCtr="0">
          <a:noAutofit/>
        </a:bodyPr>
        <a:lstStyle/>
        <a:p>
          <a:pPr marL="0" lvl="0" indent="0" algn="ctr" defTabSz="40005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000" b="0" kern="1200" spc="-70" baseline="0">
              <a:latin typeface="나눔고딕" panose="020D0604000000000000" pitchFamily="50" charset="-127"/>
              <a:ea typeface="나눔고딕" panose="020D0604000000000000" pitchFamily="50" charset="-127"/>
              <a:cs typeface="+mn-cs"/>
            </a:rPr>
            <a:t>마이데이터</a:t>
          </a:r>
          <a:endParaRPr lang="ko-KR" altLang="en-US" sz="1000" b="0" kern="1200" spc="-70" baseline="0" dirty="0">
            <a:latin typeface="나눔고딕" panose="020D0604000000000000" pitchFamily="50" charset="-127"/>
            <a:ea typeface="나눔고딕" panose="020D0604000000000000" pitchFamily="50" charset="-127"/>
            <a:cs typeface="+mn-cs"/>
          </a:endParaRPr>
        </a:p>
      </dsp:txBody>
      <dsp:txXfrm>
        <a:off x="2522626" y="1790120"/>
        <a:ext cx="990002" cy="509581"/>
      </dsp:txXfrm>
    </dsp:sp>
    <dsp:sp modelId="{A5DE9AE0-25E0-4835-8879-ACD2D38E1323}">
      <dsp:nvSpPr>
        <dsp:cNvPr id="0" name=""/>
        <dsp:cNvSpPr/>
      </dsp:nvSpPr>
      <dsp:spPr>
        <a:xfrm>
          <a:off x="2770127" y="2591865"/>
          <a:ext cx="990002" cy="50958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5715" rIns="0" bIns="5715" numCol="1" spcCol="1270" anchor="ctr" anchorCtr="0">
          <a:noAutofit/>
        </a:bodyPr>
        <a:lstStyle/>
        <a:p>
          <a:pPr marL="0" lvl="0" indent="0" algn="ctr" defTabSz="40005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000" b="0" kern="1200" spc="-70" baseline="0">
              <a:latin typeface="나눔고딕" panose="020D0604000000000000" pitchFamily="50" charset="-127"/>
              <a:ea typeface="나눔고딕" panose="020D0604000000000000" pitchFamily="50" charset="-127"/>
              <a:cs typeface="+mn-cs"/>
            </a:rPr>
            <a:t>마이데이터조회</a:t>
          </a:r>
          <a:endParaRPr lang="ko-KR" altLang="en-US" sz="1000" b="0" kern="1200" spc="-70" baseline="0" dirty="0">
            <a:latin typeface="나눔고딕" panose="020D0604000000000000" pitchFamily="50" charset="-127"/>
            <a:ea typeface="나눔고딕" panose="020D0604000000000000" pitchFamily="50" charset="-127"/>
            <a:cs typeface="+mn-cs"/>
          </a:endParaRPr>
        </a:p>
      </dsp:txBody>
      <dsp:txXfrm>
        <a:off x="2770127" y="2591865"/>
        <a:ext cx="990002" cy="509581"/>
      </dsp:txXfrm>
    </dsp:sp>
    <dsp:sp modelId="{E58152A2-1F33-403C-9350-782D337FABDD}">
      <dsp:nvSpPr>
        <dsp:cNvPr id="0" name=""/>
        <dsp:cNvSpPr/>
      </dsp:nvSpPr>
      <dsp:spPr>
        <a:xfrm>
          <a:off x="2770127" y="3393610"/>
          <a:ext cx="990002" cy="50958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5715" rIns="0" bIns="5715" numCol="1" spcCol="1270" anchor="ctr" anchorCtr="0">
          <a:noAutofit/>
        </a:bodyPr>
        <a:lstStyle/>
        <a:p>
          <a:pPr marL="0" lvl="0" indent="0" algn="ctr" defTabSz="40005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000" b="0" kern="1200" spc="-70" baseline="0">
              <a:latin typeface="나눔고딕" panose="020D0604000000000000" pitchFamily="50" charset="-127"/>
              <a:ea typeface="나눔고딕" panose="020D0604000000000000" pitchFamily="50" charset="-127"/>
              <a:cs typeface="+mn-cs"/>
            </a:rPr>
            <a:t>나의 서비스 이력</a:t>
          </a:r>
          <a:endParaRPr lang="ko-KR" altLang="en-US" sz="1000" b="0" kern="1200" spc="-70" baseline="0" dirty="0">
            <a:latin typeface="나눔고딕" panose="020D0604000000000000" pitchFamily="50" charset="-127"/>
            <a:ea typeface="나눔고딕" panose="020D0604000000000000" pitchFamily="50" charset="-127"/>
            <a:cs typeface="+mn-cs"/>
          </a:endParaRPr>
        </a:p>
      </dsp:txBody>
      <dsp:txXfrm>
        <a:off x="2770127" y="3393610"/>
        <a:ext cx="990002" cy="509581"/>
      </dsp:txXfrm>
    </dsp:sp>
    <dsp:sp modelId="{13C1080A-0D0B-4DE3-9356-7FBC839A1717}">
      <dsp:nvSpPr>
        <dsp:cNvPr id="0" name=""/>
        <dsp:cNvSpPr/>
      </dsp:nvSpPr>
      <dsp:spPr>
        <a:xfrm>
          <a:off x="2770127" y="4195355"/>
          <a:ext cx="990002" cy="50958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5715" rIns="0" bIns="5715" numCol="1" spcCol="1270" anchor="ctr" anchorCtr="0">
          <a:noAutofit/>
        </a:bodyPr>
        <a:lstStyle/>
        <a:p>
          <a:pPr marL="0" lvl="0" indent="0" algn="ctr" defTabSz="40005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000" b="0" kern="1200" spc="-70" baseline="0">
              <a:latin typeface="나눔고딕" panose="020D0604000000000000" pitchFamily="50" charset="-127"/>
              <a:ea typeface="나눔고딕" panose="020D0604000000000000" pitchFamily="50" charset="-127"/>
              <a:cs typeface="+mn-cs"/>
            </a:rPr>
            <a:t>영수증 조회</a:t>
          </a:r>
          <a:endParaRPr lang="ko-KR" altLang="en-US" sz="1000" b="0" kern="1200" spc="-70" baseline="0" dirty="0">
            <a:latin typeface="나눔고딕" panose="020D0604000000000000" pitchFamily="50" charset="-127"/>
            <a:ea typeface="나눔고딕" panose="020D0604000000000000" pitchFamily="50" charset="-127"/>
            <a:cs typeface="+mn-cs"/>
          </a:endParaRPr>
        </a:p>
      </dsp:txBody>
      <dsp:txXfrm>
        <a:off x="2770127" y="4195355"/>
        <a:ext cx="990002" cy="509581"/>
      </dsp:txXfrm>
    </dsp:sp>
    <dsp:sp modelId="{C3894397-70E5-4648-ABEC-1AB330383C13}">
      <dsp:nvSpPr>
        <dsp:cNvPr id="0" name=""/>
        <dsp:cNvSpPr/>
      </dsp:nvSpPr>
      <dsp:spPr>
        <a:xfrm>
          <a:off x="2770127" y="4997101"/>
          <a:ext cx="990002" cy="50958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5715" rIns="0" bIns="5715" numCol="1" spcCol="1270" anchor="ctr" anchorCtr="0">
          <a:noAutofit/>
        </a:bodyPr>
        <a:lstStyle/>
        <a:p>
          <a:pPr marL="0" lvl="0" indent="0" algn="ctr" defTabSz="40005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000" b="0" kern="1200" spc="-70" baseline="0">
              <a:latin typeface="나눔고딕" panose="020D0604000000000000" pitchFamily="50" charset="-127"/>
              <a:ea typeface="나눔고딕" panose="020D0604000000000000" pitchFamily="50" charset="-127"/>
            </a:rPr>
            <a:t>리워드 포인트 조회</a:t>
          </a:r>
          <a:endParaRPr lang="ko-KR" altLang="en-US" sz="1000" b="0" kern="1200" spc="-70" baseline="0" dirty="0">
            <a:latin typeface="나눔고딕" panose="020D0604000000000000" pitchFamily="50" charset="-127"/>
            <a:ea typeface="나눔고딕" panose="020D0604000000000000" pitchFamily="50" charset="-127"/>
            <a:cs typeface="+mn-cs"/>
          </a:endParaRPr>
        </a:p>
      </dsp:txBody>
      <dsp:txXfrm>
        <a:off x="2770127" y="4997101"/>
        <a:ext cx="990002" cy="509581"/>
      </dsp:txXfrm>
    </dsp:sp>
    <dsp:sp modelId="{99C672C4-1847-4671-B091-C92BDF5A2279}">
      <dsp:nvSpPr>
        <dsp:cNvPr id="0" name=""/>
        <dsp:cNvSpPr/>
      </dsp:nvSpPr>
      <dsp:spPr>
        <a:xfrm>
          <a:off x="3804792" y="1790120"/>
          <a:ext cx="990002" cy="509581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6350" rIns="0" bIns="6350" numCol="1" spcCol="1270" anchor="ctr" anchorCtr="0">
          <a:noAutofit/>
        </a:bodyPr>
        <a:lstStyle/>
        <a:p>
          <a:pPr marL="0" lvl="0" indent="0" algn="ctr" defTabSz="44450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000" b="0" kern="1200" spc="-70" baseline="0">
              <a:latin typeface="나눔고딕" panose="020D0604000000000000" pitchFamily="50" charset="-127"/>
              <a:ea typeface="나눔고딕" panose="020D0604000000000000" pitchFamily="50" charset="-127"/>
            </a:rPr>
            <a:t>방문점검</a:t>
          </a:r>
          <a:endParaRPr lang="ko-KR" altLang="en-US" sz="1000" b="0" kern="1200" spc="-70" baseline="0" dirty="0">
            <a:latin typeface="나눔고딕" panose="020D0604000000000000" pitchFamily="50" charset="-127"/>
            <a:ea typeface="나눔고딕" panose="020D0604000000000000" pitchFamily="50" charset="-127"/>
          </a:endParaRPr>
        </a:p>
      </dsp:txBody>
      <dsp:txXfrm>
        <a:off x="3804792" y="1790120"/>
        <a:ext cx="990002" cy="509581"/>
      </dsp:txXfrm>
    </dsp:sp>
    <dsp:sp modelId="{2BE48818-742B-4442-A055-A0C57BB4DC0F}">
      <dsp:nvSpPr>
        <dsp:cNvPr id="0" name=""/>
        <dsp:cNvSpPr/>
      </dsp:nvSpPr>
      <dsp:spPr>
        <a:xfrm>
          <a:off x="4052293" y="2591865"/>
          <a:ext cx="990002" cy="50958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6350" rIns="0" bIns="6350" numCol="1" spcCol="1270" anchor="ctr" anchorCtr="0">
          <a:noAutofit/>
        </a:bodyPr>
        <a:lstStyle/>
        <a:p>
          <a:pPr marL="0" lvl="0" indent="0" algn="ctr" defTabSz="44450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000" b="0" kern="1200" spc="-70" baseline="0">
              <a:latin typeface="나눔고딕" panose="020D0604000000000000" pitchFamily="50" charset="-127"/>
              <a:ea typeface="나눔고딕" panose="020D0604000000000000" pitchFamily="50" charset="-127"/>
            </a:rPr>
            <a:t>방문점검 일정</a:t>
          </a:r>
          <a:endParaRPr lang="ko-KR" altLang="en-US" sz="1000" b="0" kern="1200" spc="-70" baseline="0" dirty="0">
            <a:latin typeface="나눔고딕" panose="020D0604000000000000" pitchFamily="50" charset="-127"/>
            <a:ea typeface="나눔고딕" panose="020D0604000000000000" pitchFamily="50" charset="-127"/>
          </a:endParaRPr>
        </a:p>
      </dsp:txBody>
      <dsp:txXfrm>
        <a:off x="4052293" y="2591865"/>
        <a:ext cx="990002" cy="509581"/>
      </dsp:txXfrm>
    </dsp:sp>
    <dsp:sp modelId="{91159476-6152-4002-9397-4A4F0868A211}">
      <dsp:nvSpPr>
        <dsp:cNvPr id="0" name=""/>
        <dsp:cNvSpPr/>
      </dsp:nvSpPr>
      <dsp:spPr>
        <a:xfrm>
          <a:off x="4052293" y="3393610"/>
          <a:ext cx="990002" cy="50958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6350" rIns="0" bIns="6350" numCol="1" spcCol="1270" anchor="ctr" anchorCtr="0">
          <a:noAutofit/>
        </a:bodyPr>
        <a:lstStyle/>
        <a:p>
          <a:pPr marL="0" lvl="0" indent="0" algn="ctr" defTabSz="44450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000" b="0" kern="1200" spc="-70" baseline="0">
              <a:latin typeface="나눔고딕" panose="020D0604000000000000" pitchFamily="50" charset="-127"/>
              <a:ea typeface="나눔고딕" panose="020D0604000000000000" pitchFamily="50" charset="-127"/>
            </a:rPr>
            <a:t>방문점검 이력</a:t>
          </a:r>
          <a:endParaRPr lang="ko-KR" altLang="en-US" sz="1000" b="0" kern="1200" spc="-70" baseline="0" dirty="0">
            <a:latin typeface="나눔고딕" panose="020D0604000000000000" pitchFamily="50" charset="-127"/>
            <a:ea typeface="나눔고딕" panose="020D0604000000000000" pitchFamily="50" charset="-127"/>
          </a:endParaRPr>
        </a:p>
      </dsp:txBody>
      <dsp:txXfrm>
        <a:off x="4052293" y="3393610"/>
        <a:ext cx="990002" cy="509581"/>
      </dsp:txXfrm>
    </dsp:sp>
    <dsp:sp modelId="{30F4AFFF-EA23-484A-90D1-1C9F0AF88388}">
      <dsp:nvSpPr>
        <dsp:cNvPr id="0" name=""/>
        <dsp:cNvSpPr/>
      </dsp:nvSpPr>
      <dsp:spPr>
        <a:xfrm>
          <a:off x="5086959" y="1790120"/>
          <a:ext cx="990002" cy="509581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6350" rIns="0" bIns="6350" numCol="1" spcCol="1270" anchor="ctr" anchorCtr="0">
          <a:noAutofit/>
        </a:bodyPr>
        <a:lstStyle/>
        <a:p>
          <a:pPr marL="0" lvl="0" indent="0" algn="ctr" defTabSz="44450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000" b="0" kern="1200" spc="-70" baseline="0">
              <a:latin typeface="나눔고딕" panose="020D0604000000000000" pitchFamily="50" charset="-127"/>
              <a:ea typeface="나눔고딕" panose="020D0604000000000000" pitchFamily="50" charset="-127"/>
            </a:rPr>
            <a:t>맞춤배달</a:t>
          </a:r>
          <a:endParaRPr lang="ko-KR" altLang="en-US" sz="1000" b="0" kern="1200" spc="-70" baseline="0" dirty="0">
            <a:latin typeface="나눔고딕" panose="020D0604000000000000" pitchFamily="50" charset="-127"/>
            <a:ea typeface="나눔고딕" panose="020D0604000000000000" pitchFamily="50" charset="-127"/>
          </a:endParaRPr>
        </a:p>
      </dsp:txBody>
      <dsp:txXfrm>
        <a:off x="5086959" y="1790120"/>
        <a:ext cx="990002" cy="509581"/>
      </dsp:txXfrm>
    </dsp:sp>
    <dsp:sp modelId="{8DA62F6A-A266-46EF-9B5B-FF72031BCE00}">
      <dsp:nvSpPr>
        <dsp:cNvPr id="0" name=""/>
        <dsp:cNvSpPr/>
      </dsp:nvSpPr>
      <dsp:spPr>
        <a:xfrm>
          <a:off x="5334459" y="2591865"/>
          <a:ext cx="990002" cy="50958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6350" rIns="0" bIns="6350" numCol="1" spcCol="1270" anchor="ctr" anchorCtr="0">
          <a:noAutofit/>
        </a:bodyPr>
        <a:lstStyle/>
        <a:p>
          <a:pPr marL="0" lvl="0" indent="0" algn="ctr" defTabSz="44450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000" b="0" kern="1200" spc="-70" baseline="0">
              <a:latin typeface="나눔고딕" panose="020D0604000000000000" pitchFamily="50" charset="-127"/>
              <a:ea typeface="나눔고딕" panose="020D0604000000000000" pitchFamily="50" charset="-127"/>
            </a:rPr>
            <a:t>맞춤배달 일정</a:t>
          </a:r>
          <a:endParaRPr lang="ko-KR" altLang="en-US" sz="1000" b="0" kern="1200" spc="-70" baseline="0" dirty="0">
            <a:latin typeface="나눔고딕" panose="020D0604000000000000" pitchFamily="50" charset="-127"/>
            <a:ea typeface="나눔고딕" panose="020D0604000000000000" pitchFamily="50" charset="-127"/>
          </a:endParaRPr>
        </a:p>
      </dsp:txBody>
      <dsp:txXfrm>
        <a:off x="5334459" y="2591865"/>
        <a:ext cx="990002" cy="509581"/>
      </dsp:txXfrm>
    </dsp:sp>
    <dsp:sp modelId="{4866D584-2985-4591-A5A4-DD3473F07AA4}">
      <dsp:nvSpPr>
        <dsp:cNvPr id="0" name=""/>
        <dsp:cNvSpPr/>
      </dsp:nvSpPr>
      <dsp:spPr>
        <a:xfrm>
          <a:off x="5334459" y="3393610"/>
          <a:ext cx="990002" cy="509581"/>
        </a:xfrm>
        <a:prstGeom prst="rect">
          <a:avLst/>
        </a:prstGeom>
        <a:solidFill>
          <a:srgbClr val="4472C4">
            <a:hueOff val="0"/>
            <a:satOff val="0"/>
            <a:lumOff val="0"/>
            <a:alphaOff val="0"/>
          </a:srgbClr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6350" rIns="0" bIns="6350" numCol="1" spcCol="1270" anchor="ctr" anchorCtr="0">
          <a:noAutofit/>
        </a:bodyPr>
        <a:lstStyle/>
        <a:p>
          <a:pPr marL="0" lvl="0" indent="0" algn="ctr" defTabSz="44450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000" b="0" kern="1200" spc="-70" baseline="0">
              <a:solidFill>
                <a:prstClr val="white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+mn-cs"/>
            </a:rPr>
            <a:t>맞춤배달 이력</a:t>
          </a:r>
          <a:endParaRPr lang="ko-KR" altLang="en-US" sz="1000" b="0" kern="1200" spc="-70" baseline="0" dirty="0">
            <a:solidFill>
              <a:prstClr val="white"/>
            </a:solidFill>
            <a:latin typeface="나눔고딕" panose="020D0604000000000000" pitchFamily="50" charset="-127"/>
            <a:ea typeface="나눔고딕" panose="020D0604000000000000" pitchFamily="50" charset="-127"/>
            <a:cs typeface="+mn-cs"/>
          </a:endParaRPr>
        </a:p>
      </dsp:txBody>
      <dsp:txXfrm>
        <a:off x="5334459" y="3393610"/>
        <a:ext cx="990002" cy="509581"/>
      </dsp:txXfrm>
    </dsp:sp>
    <dsp:sp modelId="{368C8B65-E41D-482C-9B21-EBE85602CE43}">
      <dsp:nvSpPr>
        <dsp:cNvPr id="0" name=""/>
        <dsp:cNvSpPr/>
      </dsp:nvSpPr>
      <dsp:spPr>
        <a:xfrm>
          <a:off x="6369125" y="1790120"/>
          <a:ext cx="990002" cy="509581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6350" rIns="0" bIns="6350" numCol="1" spcCol="1270" anchor="ctr" anchorCtr="0">
          <a:noAutofit/>
        </a:bodyPr>
        <a:lstStyle/>
        <a:p>
          <a:pPr marL="0" lvl="0" indent="0" algn="ctr" defTabSz="44450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000" b="0" kern="1200" spc="-70" baseline="0">
              <a:latin typeface="나눔고딕" panose="020D0604000000000000" pitchFamily="50" charset="-127"/>
              <a:ea typeface="나눔고딕" panose="020D0604000000000000" pitchFamily="50" charset="-127"/>
            </a:rPr>
            <a:t>스마트예약</a:t>
          </a:r>
          <a:endParaRPr lang="ko-KR" altLang="en-US" sz="1000" b="0" kern="1200" spc="-70" baseline="0" dirty="0">
            <a:latin typeface="나눔고딕" panose="020D0604000000000000" pitchFamily="50" charset="-127"/>
            <a:ea typeface="나눔고딕" panose="020D0604000000000000" pitchFamily="50" charset="-127"/>
          </a:endParaRPr>
        </a:p>
      </dsp:txBody>
      <dsp:txXfrm>
        <a:off x="6369125" y="1790120"/>
        <a:ext cx="990002" cy="509581"/>
      </dsp:txXfrm>
    </dsp:sp>
    <dsp:sp modelId="{0343E82B-C6F1-48DA-B486-FE99E239E281}">
      <dsp:nvSpPr>
        <dsp:cNvPr id="0" name=""/>
        <dsp:cNvSpPr/>
      </dsp:nvSpPr>
      <dsp:spPr>
        <a:xfrm>
          <a:off x="6616626" y="2591865"/>
          <a:ext cx="990002" cy="50958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6350" rIns="0" bIns="6350" numCol="1" spcCol="1270" anchor="ctr" anchorCtr="0">
          <a:noAutofit/>
        </a:bodyPr>
        <a:lstStyle/>
        <a:p>
          <a:pPr marL="0" lvl="0" indent="0" algn="ctr" defTabSz="44450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000" b="0" kern="1200" spc="-70" baseline="0">
              <a:latin typeface="나눔고딕" panose="020D0604000000000000" pitchFamily="50" charset="-127"/>
              <a:ea typeface="나눔고딕" panose="020D0604000000000000" pitchFamily="50" charset="-127"/>
            </a:rPr>
            <a:t>맞춤예약 일정</a:t>
          </a:r>
          <a:endParaRPr lang="ko-KR" altLang="en-US" sz="1000" b="0" kern="1200" spc="-70" baseline="0" dirty="0">
            <a:latin typeface="나눔고딕" panose="020D0604000000000000" pitchFamily="50" charset="-127"/>
            <a:ea typeface="나눔고딕" panose="020D0604000000000000" pitchFamily="50" charset="-127"/>
          </a:endParaRPr>
        </a:p>
      </dsp:txBody>
      <dsp:txXfrm>
        <a:off x="6616626" y="2591865"/>
        <a:ext cx="990002" cy="509581"/>
      </dsp:txXfrm>
    </dsp:sp>
    <dsp:sp modelId="{14ACAB7D-6C11-403C-8CB1-BF18E2CF0E5B}">
      <dsp:nvSpPr>
        <dsp:cNvPr id="0" name=""/>
        <dsp:cNvSpPr/>
      </dsp:nvSpPr>
      <dsp:spPr>
        <a:xfrm>
          <a:off x="6616626" y="3393610"/>
          <a:ext cx="990002" cy="50958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6350" rIns="0" bIns="6350" numCol="1" spcCol="1270" anchor="ctr" anchorCtr="0">
          <a:noAutofit/>
        </a:bodyPr>
        <a:lstStyle/>
        <a:p>
          <a:pPr marL="0" lvl="0" indent="0" algn="ctr" defTabSz="44450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000" b="0" kern="1200" spc="-70" baseline="0">
              <a:latin typeface="나눔고딕" panose="020D0604000000000000" pitchFamily="50" charset="-127"/>
              <a:ea typeface="나눔고딕" panose="020D0604000000000000" pitchFamily="50" charset="-127"/>
            </a:rPr>
            <a:t>맞춤예약 이력</a:t>
          </a:r>
          <a:endParaRPr lang="ko-KR" altLang="en-US" sz="1000" b="0" kern="1200" spc="-70" baseline="0" dirty="0">
            <a:latin typeface="나눔고딕" panose="020D0604000000000000" pitchFamily="50" charset="-127"/>
            <a:ea typeface="나눔고딕" panose="020D0604000000000000" pitchFamily="50" charset="-127"/>
          </a:endParaRPr>
        </a:p>
      </dsp:txBody>
      <dsp:txXfrm>
        <a:off x="6616626" y="3393610"/>
        <a:ext cx="990002" cy="509581"/>
      </dsp:txXfrm>
    </dsp:sp>
    <dsp:sp modelId="{E84F247F-0397-425B-823B-16B33C324032}">
      <dsp:nvSpPr>
        <dsp:cNvPr id="0" name=""/>
        <dsp:cNvSpPr/>
      </dsp:nvSpPr>
      <dsp:spPr>
        <a:xfrm>
          <a:off x="7651291" y="1790120"/>
          <a:ext cx="990002" cy="509581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6350" rIns="0" bIns="6350" numCol="1" spcCol="1270" anchor="ctr" anchorCtr="0">
          <a:noAutofit/>
        </a:bodyPr>
        <a:lstStyle/>
        <a:p>
          <a:pPr marL="0" lvl="0" indent="0" algn="ctr" defTabSz="44450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000" b="0" kern="1200" spc="-70" baseline="0">
              <a:latin typeface="나눔고딕" panose="020D0604000000000000" pitchFamily="50" charset="-127"/>
              <a:ea typeface="나눔고딕" panose="020D0604000000000000" pitchFamily="50" charset="-127"/>
            </a:rPr>
            <a:t>당뇨관리</a:t>
          </a:r>
          <a:endParaRPr lang="ko-KR" altLang="en-US" sz="1000" b="0" kern="1200" spc="-70" baseline="0" dirty="0">
            <a:latin typeface="나눔고딕" panose="020D0604000000000000" pitchFamily="50" charset="-127"/>
            <a:ea typeface="나눔고딕" panose="020D0604000000000000" pitchFamily="50" charset="-127"/>
          </a:endParaRPr>
        </a:p>
      </dsp:txBody>
      <dsp:txXfrm>
        <a:off x="7651291" y="1790120"/>
        <a:ext cx="990002" cy="509581"/>
      </dsp:txXfrm>
    </dsp:sp>
    <dsp:sp modelId="{EC369270-0B96-4B44-A704-B07257F79DD2}">
      <dsp:nvSpPr>
        <dsp:cNvPr id="0" name=""/>
        <dsp:cNvSpPr/>
      </dsp:nvSpPr>
      <dsp:spPr>
        <a:xfrm>
          <a:off x="7898792" y="2591865"/>
          <a:ext cx="990002" cy="50958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6350" rIns="0" bIns="6350" numCol="1" spcCol="1270" anchor="ctr" anchorCtr="0">
          <a:noAutofit/>
        </a:bodyPr>
        <a:lstStyle/>
        <a:p>
          <a:pPr marL="0" lvl="0" indent="0" algn="ctr" defTabSz="44450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000" b="0" kern="1200" spc="-70" baseline="0">
              <a:latin typeface="나눔고딕" panose="020D0604000000000000" pitchFamily="50" charset="-127"/>
              <a:ea typeface="나눔고딕" panose="020D0604000000000000" pitchFamily="50" charset="-127"/>
            </a:rPr>
            <a:t>식단</a:t>
          </a:r>
          <a:r>
            <a:rPr lang="en-US" altLang="ko-KR" sz="1000" b="0" kern="1200" spc="-70" baseline="0">
              <a:latin typeface="나눔고딕" panose="020D0604000000000000" pitchFamily="50" charset="-127"/>
              <a:ea typeface="나눔고딕" panose="020D0604000000000000" pitchFamily="50" charset="-127"/>
            </a:rPr>
            <a:t>/</a:t>
          </a:r>
          <a:r>
            <a:rPr lang="ko-KR" altLang="en-US" sz="1000" b="0" kern="1200" spc="-70" baseline="0">
              <a:latin typeface="나눔고딕" panose="020D0604000000000000" pitchFamily="50" charset="-127"/>
              <a:ea typeface="나눔고딕" panose="020D0604000000000000" pitchFamily="50" charset="-127"/>
            </a:rPr>
            <a:t>운동법 컨텐츠 조회</a:t>
          </a:r>
          <a:endParaRPr lang="ko-KR" altLang="en-US" sz="1000" b="0" kern="1200" spc="-70" baseline="0" dirty="0">
            <a:latin typeface="나눔고딕" panose="020D0604000000000000" pitchFamily="50" charset="-127"/>
            <a:ea typeface="나눔고딕" panose="020D0604000000000000" pitchFamily="50" charset="-127"/>
          </a:endParaRPr>
        </a:p>
      </dsp:txBody>
      <dsp:txXfrm>
        <a:off x="7898792" y="2591865"/>
        <a:ext cx="990002" cy="509581"/>
      </dsp:txXfrm>
    </dsp:sp>
    <dsp:sp modelId="{CAA10B07-C1CF-457F-B784-6B2E3C1FF820}">
      <dsp:nvSpPr>
        <dsp:cNvPr id="0" name=""/>
        <dsp:cNvSpPr/>
      </dsp:nvSpPr>
      <dsp:spPr>
        <a:xfrm>
          <a:off x="7898792" y="3393610"/>
          <a:ext cx="990002" cy="50958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6350" rIns="0" bIns="6350" numCol="1" spcCol="1270" anchor="ctr" anchorCtr="0">
          <a:noAutofit/>
        </a:bodyPr>
        <a:lstStyle/>
        <a:p>
          <a:pPr marL="0" lvl="0" indent="0" algn="ctr" defTabSz="44450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000" b="0" kern="1200" spc="-70" baseline="0">
              <a:latin typeface="나눔고딕" panose="020D0604000000000000" pitchFamily="50" charset="-127"/>
              <a:ea typeface="나눔고딕" panose="020D0604000000000000" pitchFamily="50" charset="-127"/>
            </a:rPr>
            <a:t>혈당측정 입력</a:t>
          </a:r>
          <a:endParaRPr lang="ko-KR" altLang="en-US" sz="1000" b="0" kern="1200" spc="-70" baseline="0" dirty="0">
            <a:latin typeface="나눔고딕" panose="020D0604000000000000" pitchFamily="50" charset="-127"/>
            <a:ea typeface="나눔고딕" panose="020D0604000000000000" pitchFamily="50" charset="-127"/>
          </a:endParaRPr>
        </a:p>
      </dsp:txBody>
      <dsp:txXfrm>
        <a:off x="7898792" y="3393610"/>
        <a:ext cx="990002" cy="509581"/>
      </dsp:txXfrm>
    </dsp:sp>
    <dsp:sp modelId="{462A7BCE-C227-4277-9437-A99CC96A5257}">
      <dsp:nvSpPr>
        <dsp:cNvPr id="0" name=""/>
        <dsp:cNvSpPr/>
      </dsp:nvSpPr>
      <dsp:spPr>
        <a:xfrm>
          <a:off x="8933458" y="1790120"/>
          <a:ext cx="990002" cy="509581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6350" rIns="0" bIns="6350" numCol="1" spcCol="1270" anchor="ctr" anchorCtr="0">
          <a:noAutofit/>
        </a:bodyPr>
        <a:lstStyle/>
        <a:p>
          <a:pPr marL="0" lvl="0" indent="0" algn="ctr" defTabSz="44450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000" b="0" kern="1200" spc="-70" baseline="0">
              <a:latin typeface="나눔고딕" panose="020D0604000000000000" pitchFamily="50" charset="-127"/>
              <a:ea typeface="나눔고딕" panose="020D0604000000000000" pitchFamily="50" charset="-127"/>
            </a:rPr>
            <a:t>마이페이지</a:t>
          </a:r>
          <a:endParaRPr lang="ko-KR" altLang="en-US" sz="1000" b="0" kern="1200" spc="-70" baseline="0" dirty="0">
            <a:latin typeface="나눔고딕" panose="020D0604000000000000" pitchFamily="50" charset="-127"/>
            <a:ea typeface="나눔고딕" panose="020D0604000000000000" pitchFamily="50" charset="-127"/>
          </a:endParaRPr>
        </a:p>
      </dsp:txBody>
      <dsp:txXfrm>
        <a:off x="8933458" y="1790120"/>
        <a:ext cx="990002" cy="509581"/>
      </dsp:txXfrm>
    </dsp:sp>
    <dsp:sp modelId="{2B96D054-8CF5-42B7-B150-A83AECB6A757}">
      <dsp:nvSpPr>
        <dsp:cNvPr id="0" name=""/>
        <dsp:cNvSpPr/>
      </dsp:nvSpPr>
      <dsp:spPr>
        <a:xfrm>
          <a:off x="9180958" y="2591865"/>
          <a:ext cx="990002" cy="50958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6350" rIns="0" bIns="6350" numCol="1" spcCol="1270" anchor="ctr" anchorCtr="0">
          <a:noAutofit/>
        </a:bodyPr>
        <a:lstStyle/>
        <a:p>
          <a:pPr marL="0" lvl="0" indent="0" algn="ctr" defTabSz="44450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000" b="0" kern="1200" spc="-70" baseline="0">
              <a:latin typeface="나눔고딕" panose="020D0604000000000000" pitchFamily="50" charset="-127"/>
              <a:ea typeface="나눔고딕" panose="020D0604000000000000" pitchFamily="50" charset="-127"/>
            </a:rPr>
            <a:t>개인정보관리</a:t>
          </a:r>
          <a:endParaRPr lang="ko-KR" altLang="en-US" sz="1000" b="0" kern="1200" spc="-70" baseline="0" dirty="0">
            <a:latin typeface="나눔고딕" panose="020D0604000000000000" pitchFamily="50" charset="-127"/>
            <a:ea typeface="나눔고딕" panose="020D0604000000000000" pitchFamily="50" charset="-127"/>
          </a:endParaRPr>
        </a:p>
      </dsp:txBody>
      <dsp:txXfrm>
        <a:off x="9180958" y="2591865"/>
        <a:ext cx="990002" cy="509581"/>
      </dsp:txXfrm>
    </dsp:sp>
    <dsp:sp modelId="{F9710AF4-954F-4A82-B7F7-21E813551464}">
      <dsp:nvSpPr>
        <dsp:cNvPr id="0" name=""/>
        <dsp:cNvSpPr/>
      </dsp:nvSpPr>
      <dsp:spPr>
        <a:xfrm>
          <a:off x="9180958" y="3393610"/>
          <a:ext cx="990002" cy="50958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6350" rIns="0" bIns="6350" numCol="1" spcCol="1270" anchor="ctr" anchorCtr="0">
          <a:noAutofit/>
        </a:bodyPr>
        <a:lstStyle/>
        <a:p>
          <a:pPr marL="0" lvl="0" indent="0" algn="ctr" defTabSz="44450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000" b="0" kern="1200" spc="-70" baseline="0">
              <a:latin typeface="나눔고딕" panose="020D0604000000000000" pitchFamily="50" charset="-127"/>
              <a:ea typeface="나눔고딕" panose="020D0604000000000000" pitchFamily="50" charset="-127"/>
            </a:rPr>
            <a:t>환경설정</a:t>
          </a:r>
          <a:endParaRPr lang="ko-KR" altLang="en-US" sz="1000" b="0" kern="1200" spc="-70" baseline="0" dirty="0">
            <a:latin typeface="나눔고딕" panose="020D0604000000000000" pitchFamily="50" charset="-127"/>
            <a:ea typeface="나눔고딕" panose="020D0604000000000000" pitchFamily="50" charset="-127"/>
          </a:endParaRPr>
        </a:p>
      </dsp:txBody>
      <dsp:txXfrm>
        <a:off x="9180958" y="3393610"/>
        <a:ext cx="990002" cy="509581"/>
      </dsp:txXfrm>
    </dsp:sp>
    <dsp:sp modelId="{3E2BB393-FF31-44C4-80ED-644420E5C84C}">
      <dsp:nvSpPr>
        <dsp:cNvPr id="0" name=""/>
        <dsp:cNvSpPr/>
      </dsp:nvSpPr>
      <dsp:spPr>
        <a:xfrm>
          <a:off x="9180958" y="4195355"/>
          <a:ext cx="990002" cy="50958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6350" rIns="0" bIns="6350" numCol="1" spcCol="1270" anchor="ctr" anchorCtr="0">
          <a:noAutofit/>
        </a:bodyPr>
        <a:lstStyle/>
        <a:p>
          <a:pPr marL="0" lvl="0" indent="0" algn="ctr" defTabSz="44450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000" b="0" kern="1200" spc="-70" baseline="0">
              <a:latin typeface="나눔고딕" panose="020D0604000000000000" pitchFamily="50" charset="-127"/>
              <a:ea typeface="나눔고딕" panose="020D0604000000000000" pitchFamily="50" charset="-127"/>
            </a:rPr>
            <a:t>약관및정책조회</a:t>
          </a:r>
          <a:endParaRPr lang="ko-KR" altLang="en-US" sz="1000" b="0" kern="1200" spc="-70" baseline="0" dirty="0">
            <a:latin typeface="나눔고딕" panose="020D0604000000000000" pitchFamily="50" charset="-127"/>
            <a:ea typeface="나눔고딕" panose="020D0604000000000000" pitchFamily="50" charset="-127"/>
          </a:endParaRPr>
        </a:p>
      </dsp:txBody>
      <dsp:txXfrm>
        <a:off x="9180958" y="4195355"/>
        <a:ext cx="990002" cy="509581"/>
      </dsp:txXfrm>
    </dsp:sp>
    <dsp:sp modelId="{D5103497-1B54-43E8-8200-478661CC0DA5}">
      <dsp:nvSpPr>
        <dsp:cNvPr id="0" name=""/>
        <dsp:cNvSpPr/>
      </dsp:nvSpPr>
      <dsp:spPr>
        <a:xfrm>
          <a:off x="9180958" y="4997101"/>
          <a:ext cx="990002" cy="50958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6350" rIns="0" bIns="6350" numCol="1" spcCol="1270" anchor="ctr" anchorCtr="0">
          <a:noAutofit/>
        </a:bodyPr>
        <a:lstStyle/>
        <a:p>
          <a:pPr marL="0" lvl="0" indent="0" algn="ctr" defTabSz="44450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000" b="0" kern="1200" spc="-70" baseline="0">
              <a:latin typeface="나눔고딕" panose="020D0604000000000000" pitchFamily="50" charset="-127"/>
              <a:ea typeface="나눔고딕" panose="020D0604000000000000" pitchFamily="50" charset="-127"/>
            </a:rPr>
            <a:t>회원탈퇴</a:t>
          </a:r>
          <a:endParaRPr lang="ko-KR" altLang="en-US" sz="1000" b="0" kern="1200" spc="-70" baseline="0" dirty="0">
            <a:latin typeface="나눔고딕" panose="020D0604000000000000" pitchFamily="50" charset="-127"/>
            <a:ea typeface="나눔고딕" panose="020D0604000000000000" pitchFamily="50" charset="-127"/>
          </a:endParaRPr>
        </a:p>
      </dsp:txBody>
      <dsp:txXfrm>
        <a:off x="9180958" y="4997101"/>
        <a:ext cx="990002" cy="509581"/>
      </dsp:txXfrm>
    </dsp:sp>
    <dsp:sp modelId="{A07D5470-FA21-43EA-BEE9-75BAF74C1A11}">
      <dsp:nvSpPr>
        <dsp:cNvPr id="0" name=""/>
        <dsp:cNvSpPr/>
      </dsp:nvSpPr>
      <dsp:spPr>
        <a:xfrm>
          <a:off x="4445876" y="895352"/>
          <a:ext cx="990002" cy="509581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5715" rIns="0" bIns="5715" numCol="1" spcCol="1270" rtlCol="0" anchor="ctr" anchorCtr="0">
          <a:noAutofit/>
        </a:bodyPr>
        <a:lstStyle/>
        <a:p>
          <a:pPr marL="0" lvl="0" indent="0" algn="ctr" defTabSz="40005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000" b="0" kern="1200" spc="-70" baseline="0">
              <a:latin typeface="나눔고딕" panose="020D0604000000000000" pitchFamily="50" charset="-127"/>
              <a:ea typeface="나눔고딕" panose="020D0604000000000000" pitchFamily="50" charset="-127"/>
              <a:cs typeface="+mn-cs"/>
            </a:rPr>
            <a:t>회원가입</a:t>
          </a:r>
          <a:endParaRPr lang="ko-KR" altLang="en-US" sz="1000" b="0" kern="1200" spc="-70" baseline="0" dirty="0">
            <a:latin typeface="나눔고딕" panose="020D0604000000000000" pitchFamily="50" charset="-127"/>
            <a:ea typeface="나눔고딕" panose="020D0604000000000000" pitchFamily="50" charset="-127"/>
            <a:cs typeface="+mn-cs"/>
          </a:endParaRPr>
        </a:p>
      </dsp:txBody>
      <dsp:txXfrm>
        <a:off x="4445876" y="895352"/>
        <a:ext cx="990002" cy="509581"/>
      </dsp:txXfrm>
    </dsp:sp>
    <dsp:sp modelId="{0C4E34C0-D74F-4ED8-ADAF-8EB2F65C2DED}">
      <dsp:nvSpPr>
        <dsp:cNvPr id="0" name=""/>
        <dsp:cNvSpPr/>
      </dsp:nvSpPr>
      <dsp:spPr>
        <a:xfrm>
          <a:off x="5928668" y="895352"/>
          <a:ext cx="990002" cy="509581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5715" rIns="0" bIns="5715" numCol="1" spcCol="1270" rtlCol="0" anchor="ctr" anchorCtr="0">
          <a:noAutofit/>
        </a:bodyPr>
        <a:lstStyle/>
        <a:p>
          <a:pPr marL="0" lvl="0" indent="0" algn="ctr" defTabSz="40005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000" b="0" kern="1200" spc="-70" baseline="0">
              <a:latin typeface="나눔고딕" panose="020D0604000000000000" pitchFamily="50" charset="-127"/>
              <a:ea typeface="나눔고딕" panose="020D0604000000000000" pitchFamily="50" charset="-127"/>
              <a:cs typeface="+mn-cs"/>
            </a:rPr>
            <a:t>로그인</a:t>
          </a:r>
          <a:r>
            <a:rPr lang="en-US" altLang="ko-KR" sz="1000" b="0" kern="1200" spc="-70" baseline="0">
              <a:latin typeface="나눔고딕" panose="020D0604000000000000" pitchFamily="50" charset="-127"/>
              <a:ea typeface="나눔고딕" panose="020D0604000000000000" pitchFamily="50" charset="-127"/>
              <a:cs typeface="+mn-cs"/>
            </a:rPr>
            <a:t>/</a:t>
          </a:r>
          <a:r>
            <a:rPr lang="ko-KR" altLang="en-US" sz="1000" b="0" kern="1200" spc="-70" baseline="0">
              <a:latin typeface="나눔고딕" panose="020D0604000000000000" pitchFamily="50" charset="-127"/>
              <a:ea typeface="나눔고딕" panose="020D0604000000000000" pitchFamily="50" charset="-127"/>
              <a:cs typeface="+mn-cs"/>
            </a:rPr>
            <a:t>로그아웃</a:t>
          </a:r>
          <a:endParaRPr lang="ko-KR" altLang="en-US" sz="1000" b="0" kern="1200" spc="-70" baseline="0" dirty="0">
            <a:latin typeface="나눔고딕" panose="020D0604000000000000" pitchFamily="50" charset="-127"/>
            <a:ea typeface="나눔고딕" panose="020D0604000000000000" pitchFamily="50" charset="-127"/>
            <a:cs typeface="+mn-cs"/>
          </a:endParaRPr>
        </a:p>
      </dsp:txBody>
      <dsp:txXfrm>
        <a:off x="5928668" y="895352"/>
        <a:ext cx="990002" cy="50958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hdr" sz="quarter"/>
          </p:nvPr>
        </p:nvSpPr>
        <p:spPr>
          <a:xfrm>
            <a:off x="2" y="4"/>
            <a:ext cx="2951373" cy="498236"/>
          </a:xfrm>
          <a:prstGeom prst="rect">
            <a:avLst/>
          </a:prstGeom>
          <a:noFill/>
          <a:ln w="9525">
            <a:noFill/>
            <a:miter/>
          </a:ln>
          <a:effectLst/>
        </p:spPr>
        <p:txBody>
          <a:bodyPr vert="horz" wrap="square" lIns="92228" tIns="46109" rIns="92228" bIns="46109" anchor="t" anchorCtr="0">
            <a:prstTxWarp prst="textNoShape">
              <a:avLst/>
            </a:prstTxWarp>
          </a:bodyPr>
          <a:lstStyle>
            <a:lvl1pPr defTabSz="920007" latinLnBrk="1">
              <a:defRPr sz="1200">
                <a:latin typeface="Book Antiqua"/>
              </a:defRPr>
            </a:lvl1pPr>
          </a:lstStyle>
          <a:p>
            <a:pPr>
              <a:defRPr/>
            </a:pPr>
            <a:endParaRPr lang="ko-KR" altLang="en-US">
              <a:latin typeface="나눔바른고딕"/>
              <a:ea typeface="나눔바른고딕"/>
            </a:endParaRPr>
          </a:p>
        </p:txBody>
      </p:sp>
      <p:sp>
        <p:nvSpPr>
          <p:cNvPr id="12291" name="Rectangle 3"/>
          <p:cNvSpPr>
            <a:spLocks noGrp="1" noChangeArrowheads="1"/>
          </p:cNvSpPr>
          <p:nvPr>
            <p:ph type="dt" sz="quarter" idx="1"/>
          </p:nvPr>
        </p:nvSpPr>
        <p:spPr>
          <a:xfrm>
            <a:off x="3851069" y="4"/>
            <a:ext cx="2951373" cy="498236"/>
          </a:xfrm>
          <a:prstGeom prst="rect">
            <a:avLst/>
          </a:prstGeom>
          <a:noFill/>
          <a:ln w="9525">
            <a:noFill/>
            <a:miter/>
          </a:ln>
          <a:effectLst/>
        </p:spPr>
        <p:txBody>
          <a:bodyPr vert="horz" wrap="square" lIns="92228" tIns="46109" rIns="92228" bIns="46109" anchor="t" anchorCtr="0">
            <a:prstTxWarp prst="textNoShape">
              <a:avLst/>
            </a:prstTxWarp>
          </a:bodyPr>
          <a:lstStyle>
            <a:lvl1pPr algn="r" defTabSz="920007" latinLnBrk="1">
              <a:defRPr sz="1200">
                <a:latin typeface="Book Antiqua"/>
              </a:defRPr>
            </a:lvl1pPr>
          </a:lstStyle>
          <a:p>
            <a:pPr>
              <a:defRPr/>
            </a:pPr>
            <a:endParaRPr lang="ko-KR" altLang="en-US">
              <a:latin typeface="나눔바른고딕"/>
              <a:ea typeface="나눔바른고딕"/>
            </a:endParaRPr>
          </a:p>
        </p:txBody>
      </p:sp>
      <p:sp>
        <p:nvSpPr>
          <p:cNvPr id="12292" name="Rectangle 4"/>
          <p:cNvSpPr>
            <a:spLocks noGrp="1" noChangeArrowheads="1"/>
          </p:cNvSpPr>
          <p:nvPr>
            <p:ph type="ftr" sz="quarter" idx="2"/>
          </p:nvPr>
        </p:nvSpPr>
        <p:spPr>
          <a:xfrm>
            <a:off x="2" y="9441102"/>
            <a:ext cx="2951373" cy="493476"/>
          </a:xfrm>
          <a:prstGeom prst="rect">
            <a:avLst/>
          </a:prstGeom>
          <a:noFill/>
          <a:ln w="9525">
            <a:noFill/>
            <a:miter/>
          </a:ln>
          <a:effectLst/>
        </p:spPr>
        <p:txBody>
          <a:bodyPr vert="horz" wrap="square" lIns="92228" tIns="46109" rIns="92228" bIns="46109" anchor="b" anchorCtr="0">
            <a:prstTxWarp prst="textNoShape">
              <a:avLst/>
            </a:prstTxWarp>
          </a:bodyPr>
          <a:lstStyle>
            <a:lvl1pPr defTabSz="920007" latinLnBrk="1">
              <a:defRPr sz="1200">
                <a:latin typeface="Book Antiqua"/>
              </a:defRPr>
            </a:lvl1pPr>
          </a:lstStyle>
          <a:p>
            <a:pPr>
              <a:defRPr/>
            </a:pPr>
            <a:endParaRPr lang="ko-KR" altLang="en-US">
              <a:latin typeface="나눔바른고딕"/>
              <a:ea typeface="나눔바른고딕"/>
            </a:endParaRPr>
          </a:p>
        </p:txBody>
      </p:sp>
      <p:sp>
        <p:nvSpPr>
          <p:cNvPr id="12293" name="Rectangle 5"/>
          <p:cNvSpPr>
            <a:spLocks noGrp="1" noChangeArrowheads="1"/>
          </p:cNvSpPr>
          <p:nvPr>
            <p:ph type="sldNum" sz="quarter" idx="3"/>
          </p:nvPr>
        </p:nvSpPr>
        <p:spPr>
          <a:xfrm>
            <a:off x="3851069" y="9441102"/>
            <a:ext cx="2951373" cy="493476"/>
          </a:xfrm>
          <a:prstGeom prst="rect">
            <a:avLst/>
          </a:prstGeom>
          <a:noFill/>
          <a:ln w="9525">
            <a:noFill/>
            <a:miter/>
          </a:ln>
          <a:effectLst/>
        </p:spPr>
        <p:txBody>
          <a:bodyPr vert="horz" wrap="square" lIns="92228" tIns="46109" rIns="92228" bIns="46109" anchor="b" anchorCtr="0">
            <a:prstTxWarp prst="textNoShape">
              <a:avLst/>
            </a:prstTxWarp>
          </a:bodyPr>
          <a:lstStyle>
            <a:lvl1pPr algn="r" defTabSz="920007" latinLnBrk="1">
              <a:defRPr sz="1200">
                <a:latin typeface="Book Antiqua"/>
              </a:defRPr>
            </a:lvl1pPr>
          </a:lstStyle>
          <a:p>
            <a:pPr>
              <a:defRPr/>
            </a:pPr>
            <a:fld id="{077ED800-827B-4C31-9CDD-34AF9DC14203}" type="slidenum">
              <a:rPr lang="en-US" altLang="ko-KR">
                <a:latin typeface="나눔바른고딕"/>
                <a:ea typeface="나눔바른고딕"/>
              </a:rPr>
              <a:pPr>
                <a:defRPr/>
              </a:pPr>
              <a:t>‹#›</a:t>
            </a:fld>
            <a:endParaRPr lang="en-US" altLang="ko-KR">
              <a:latin typeface="나눔바른고딕"/>
              <a:ea typeface="나눔바른고딕"/>
            </a:endParaRPr>
          </a:p>
        </p:txBody>
      </p:sp>
    </p:spTree>
    <p:extLst>
      <p:ext uri="{BB962C8B-B14F-4D97-AF65-F5344CB8AC3E}">
        <p14:creationId xmlns:p14="http://schemas.microsoft.com/office/powerpoint/2010/main" val="422140236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ChangeArrowheads="1"/>
          </p:cNvSpPr>
          <p:nvPr>
            <p:ph type="hdr" sz="quarter"/>
          </p:nvPr>
        </p:nvSpPr>
        <p:spPr>
          <a:xfrm>
            <a:off x="2" y="4"/>
            <a:ext cx="2951373" cy="498236"/>
          </a:xfrm>
          <a:prstGeom prst="rect">
            <a:avLst/>
          </a:prstGeom>
          <a:noFill/>
          <a:ln w="9525">
            <a:noFill/>
            <a:miter/>
          </a:ln>
          <a:effectLst/>
        </p:spPr>
        <p:txBody>
          <a:bodyPr vert="horz" wrap="square" lIns="92228" tIns="46109" rIns="92228" bIns="46109" anchor="t" anchorCtr="0">
            <a:prstTxWarp prst="textNoShape">
              <a:avLst/>
            </a:prstTxWarp>
          </a:bodyPr>
          <a:lstStyle>
            <a:lvl1pPr defTabSz="920007" latinLnBrk="1">
              <a:defRPr sz="1200">
                <a:latin typeface="나눔바른고딕"/>
                <a:ea typeface="나눔바른고딕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39939" name="Rectangle 3"/>
          <p:cNvSpPr>
            <a:spLocks noGrp="1" noChangeArrowheads="1"/>
          </p:cNvSpPr>
          <p:nvPr>
            <p:ph type="dt" idx="1"/>
          </p:nvPr>
        </p:nvSpPr>
        <p:spPr>
          <a:xfrm>
            <a:off x="3851069" y="4"/>
            <a:ext cx="2951373" cy="498236"/>
          </a:xfrm>
          <a:prstGeom prst="rect">
            <a:avLst/>
          </a:prstGeom>
          <a:noFill/>
          <a:ln w="9525">
            <a:noFill/>
            <a:miter/>
          </a:ln>
          <a:effectLst/>
        </p:spPr>
        <p:txBody>
          <a:bodyPr vert="horz" wrap="square" lIns="92228" tIns="46109" rIns="92228" bIns="46109" anchor="t" anchorCtr="0">
            <a:prstTxWarp prst="textNoShape">
              <a:avLst/>
            </a:prstTxWarp>
          </a:bodyPr>
          <a:lstStyle>
            <a:lvl1pPr algn="r" defTabSz="920007" latinLnBrk="1">
              <a:defRPr sz="1200">
                <a:latin typeface="나눔바른고딕"/>
                <a:ea typeface="나눔바른고딕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3686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>
          <a:xfrm>
            <a:off x="98425" y="747713"/>
            <a:ext cx="6629400" cy="3729037"/>
          </a:xfrm>
          <a:prstGeom prst="rect">
            <a:avLst/>
          </a:prstGeom>
          <a:noFill/>
          <a:ln w="9525">
            <a:solidFill>
              <a:srgbClr val="000000"/>
            </a:solidFill>
            <a:miter/>
          </a:ln>
        </p:spPr>
      </p:sp>
      <p:sp>
        <p:nvSpPr>
          <p:cNvPr id="39941" name="Rectangle 5"/>
          <p:cNvSpPr>
            <a:spLocks noGrp="1" noChangeArrowheads="1"/>
          </p:cNvSpPr>
          <p:nvPr>
            <p:ph type="body" sz="quarter" idx="3"/>
          </p:nvPr>
        </p:nvSpPr>
        <p:spPr>
          <a:xfrm>
            <a:off x="907630" y="4714203"/>
            <a:ext cx="4987186" cy="4473017"/>
          </a:xfrm>
          <a:prstGeom prst="rect">
            <a:avLst/>
          </a:prstGeom>
          <a:noFill/>
          <a:ln w="9525">
            <a:noFill/>
            <a:miter/>
          </a:ln>
          <a:effectLst/>
        </p:spPr>
        <p:txBody>
          <a:bodyPr vert="horz" wrap="square" lIns="92228" tIns="46109" rIns="92228" bIns="46109" anchor="t" anchorCtr="0">
            <a:prstTxWarp prst="textNoShape">
              <a:avLst/>
            </a:prstTxWarp>
          </a:bodyPr>
          <a:lstStyle/>
          <a:p>
            <a:pPr lvl="0">
              <a:defRPr/>
            </a:pPr>
            <a:r>
              <a:rPr lang="ko-KR" altLang="en-US"/>
              <a:t>마스터 텍스트 스타일을 편집합니다</a:t>
            </a:r>
          </a:p>
          <a:p>
            <a:pPr lvl="1">
              <a:defRPr/>
            </a:pPr>
            <a:r>
              <a:rPr lang="ko-KR" altLang="en-US"/>
              <a:t>둘째 수준</a:t>
            </a:r>
          </a:p>
          <a:p>
            <a:pPr lvl="2">
              <a:defRPr/>
            </a:pPr>
            <a:r>
              <a:rPr lang="ko-KR" altLang="en-US"/>
              <a:t>셋째 수준</a:t>
            </a:r>
          </a:p>
          <a:p>
            <a:pPr lvl="3">
              <a:defRPr/>
            </a:pPr>
            <a:r>
              <a:rPr lang="ko-KR" altLang="en-US"/>
              <a:t>넷째 수준</a:t>
            </a:r>
          </a:p>
          <a:p>
            <a:pPr lvl="4">
              <a:defRPr/>
            </a:pPr>
            <a:r>
              <a:rPr lang="ko-KR" altLang="en-US"/>
              <a:t>다섯째 수준</a:t>
            </a:r>
          </a:p>
        </p:txBody>
      </p:sp>
      <p:sp>
        <p:nvSpPr>
          <p:cNvPr id="39942" name="Rectangle 6"/>
          <p:cNvSpPr>
            <a:spLocks noGrp="1" noChangeArrowheads="1"/>
          </p:cNvSpPr>
          <p:nvPr>
            <p:ph type="ftr" sz="quarter" idx="4"/>
          </p:nvPr>
        </p:nvSpPr>
        <p:spPr>
          <a:xfrm>
            <a:off x="2" y="9441102"/>
            <a:ext cx="2951373" cy="493476"/>
          </a:xfrm>
          <a:prstGeom prst="rect">
            <a:avLst/>
          </a:prstGeom>
          <a:noFill/>
          <a:ln w="9525">
            <a:noFill/>
            <a:miter/>
          </a:ln>
          <a:effectLst/>
        </p:spPr>
        <p:txBody>
          <a:bodyPr vert="horz" wrap="square" lIns="92228" tIns="46109" rIns="92228" bIns="46109" anchor="b" anchorCtr="0">
            <a:prstTxWarp prst="textNoShape">
              <a:avLst/>
            </a:prstTxWarp>
          </a:bodyPr>
          <a:lstStyle>
            <a:lvl1pPr defTabSz="920007" latinLnBrk="1">
              <a:defRPr sz="1200">
                <a:latin typeface="나눔바른고딕"/>
                <a:ea typeface="나눔바른고딕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39943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3851069" y="9441102"/>
            <a:ext cx="2951373" cy="493476"/>
          </a:xfrm>
          <a:prstGeom prst="rect">
            <a:avLst/>
          </a:prstGeom>
          <a:noFill/>
          <a:ln w="9525">
            <a:noFill/>
            <a:miter/>
          </a:ln>
          <a:effectLst/>
        </p:spPr>
        <p:txBody>
          <a:bodyPr vert="horz" wrap="square" lIns="92228" tIns="46109" rIns="92228" bIns="46109" anchor="b" anchorCtr="0">
            <a:prstTxWarp prst="textNoShape">
              <a:avLst/>
            </a:prstTxWarp>
          </a:bodyPr>
          <a:lstStyle>
            <a:lvl1pPr algn="r" defTabSz="920007" latinLnBrk="1">
              <a:defRPr sz="1200">
                <a:latin typeface="나눔바른고딕"/>
                <a:ea typeface="나눔바른고딕"/>
              </a:defRPr>
            </a:lvl1pPr>
          </a:lstStyle>
          <a:p>
            <a:pPr>
              <a:defRPr/>
            </a:pPr>
            <a:fld id="{9A87A856-0095-494B-A1EB-DAD9DB107C8F}" type="slidenum">
              <a:rPr lang="en-US" altLang="ko-KR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9066911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나눔바른고딕"/>
        <a:ea typeface="나눔바른고딕"/>
        <a:cs typeface="+mn-cs"/>
      </a:defRPr>
    </a:lvl1pPr>
    <a:lvl2pPr marL="4572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나눔바른고딕"/>
        <a:ea typeface="나눔바른고딕"/>
        <a:cs typeface="+mn-cs"/>
      </a:defRPr>
    </a:lvl2pPr>
    <a:lvl3pPr marL="9144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나눔바른고딕"/>
        <a:ea typeface="나눔바른고딕"/>
        <a:cs typeface="+mn-cs"/>
      </a:defRPr>
    </a:lvl3pPr>
    <a:lvl4pPr marL="13716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나눔바른고딕"/>
        <a:ea typeface="나눔바른고딕"/>
        <a:cs typeface="+mn-cs"/>
      </a:defRPr>
    </a:lvl4pPr>
    <a:lvl5pPr marL="18288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나눔바른고딕"/>
        <a:ea typeface="나눔바른고딕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98425" y="747713"/>
            <a:ext cx="6629400" cy="372903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A87A856-0095-494B-A1EB-DAD9DB107C8F}" type="slidenum">
              <a:rPr lang="en-US" altLang="ko-KR" smtClean="0"/>
              <a:pPr>
                <a:defRPr/>
              </a:pPr>
              <a:t>0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411597111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A87A856-0095-494B-A1EB-DAD9DB107C8F}" type="slidenum">
              <a:rPr lang="en-US" altLang="ko-KR" smtClean="0"/>
              <a:pPr>
                <a:defRPr/>
              </a:pPr>
              <a:t>22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29288535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A87A856-0095-494B-A1EB-DAD9DB107C8F}" type="slidenum">
              <a:rPr lang="en-US" altLang="ko-KR" smtClean="0"/>
              <a:pPr>
                <a:defRPr/>
              </a:pPr>
              <a:t>23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70747921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A87A856-0095-494B-A1EB-DAD9DB107C8F}" type="slidenum">
              <a:rPr lang="en-US" altLang="ko-KR" smtClean="0"/>
              <a:pPr>
                <a:defRPr/>
              </a:pPr>
              <a:t>24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410009092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A87A856-0095-494B-A1EB-DAD9DB107C8F}" type="slidenum">
              <a:rPr lang="en-US" altLang="ko-KR" smtClean="0"/>
              <a:pPr>
                <a:defRPr/>
              </a:pPr>
              <a:t>25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94074554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A87A856-0095-494B-A1EB-DAD9DB107C8F}" type="slidenum">
              <a:rPr lang="en-US" altLang="ko-KR" smtClean="0"/>
              <a:pPr>
                <a:defRPr/>
              </a:pPr>
              <a:t>26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98665800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A87A856-0095-494B-A1EB-DAD9DB107C8F}" type="slidenum">
              <a:rPr lang="en-US" altLang="ko-KR" smtClean="0"/>
              <a:pPr>
                <a:defRPr/>
              </a:pPr>
              <a:t>27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72808594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A87A856-0095-494B-A1EB-DAD9DB107C8F}" type="slidenum">
              <a:rPr lang="en-US" altLang="ko-KR" smtClean="0"/>
              <a:pPr>
                <a:defRPr/>
              </a:pPr>
              <a:t>28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19374344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A87A856-0095-494B-A1EB-DAD9DB107C8F}" type="slidenum">
              <a:rPr lang="en-US" altLang="ko-KR" smtClean="0"/>
              <a:pPr>
                <a:defRPr/>
              </a:pPr>
              <a:t>29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68214464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A87A856-0095-494B-A1EB-DAD9DB107C8F}" type="slidenum">
              <a:rPr lang="en-US" altLang="ko-KR" smtClean="0"/>
              <a:pPr>
                <a:defRPr/>
              </a:pPr>
              <a:t>30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288161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A87A856-0095-494B-A1EB-DAD9DB107C8F}" type="slidenum">
              <a:rPr lang="en-US" altLang="ko-KR" smtClean="0"/>
              <a:pPr>
                <a:defRPr/>
              </a:pPr>
              <a:t>31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090785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A87A856-0095-494B-A1EB-DAD9DB107C8F}" type="slidenum">
              <a:rPr lang="en-US" altLang="ko-KR" smtClean="0"/>
              <a:pPr>
                <a:defRPr/>
              </a:pPr>
              <a:t>5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02686945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A87A856-0095-494B-A1EB-DAD9DB107C8F}" type="slidenum">
              <a:rPr lang="en-US" altLang="ko-KR" smtClean="0"/>
              <a:pPr>
                <a:defRPr/>
              </a:pPr>
              <a:t>32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426603863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A87A856-0095-494B-A1EB-DAD9DB107C8F}" type="slidenum">
              <a:rPr lang="en-US" altLang="ko-KR" smtClean="0"/>
              <a:pPr>
                <a:defRPr/>
              </a:pPr>
              <a:t>33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99044133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A87A856-0095-494B-A1EB-DAD9DB107C8F}" type="slidenum">
              <a:rPr lang="en-US" altLang="ko-KR" smtClean="0"/>
              <a:pPr>
                <a:defRPr/>
              </a:pPr>
              <a:t>34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87886959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A87A856-0095-494B-A1EB-DAD9DB107C8F}" type="slidenum">
              <a:rPr lang="en-US" altLang="ko-KR" smtClean="0"/>
              <a:pPr>
                <a:defRPr/>
              </a:pPr>
              <a:t>35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7050506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A87A856-0095-494B-A1EB-DAD9DB107C8F}" type="slidenum">
              <a:rPr lang="en-US" altLang="ko-KR" smtClean="0"/>
              <a:pPr>
                <a:defRPr/>
              </a:pPr>
              <a:t>36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02948736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A87A856-0095-494B-A1EB-DAD9DB107C8F}" type="slidenum">
              <a:rPr lang="en-US" altLang="ko-KR" smtClean="0"/>
              <a:pPr>
                <a:defRPr/>
              </a:pPr>
              <a:t>37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75372435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A87A856-0095-494B-A1EB-DAD9DB107C8F}" type="slidenum">
              <a:rPr lang="en-US" altLang="ko-KR" smtClean="0"/>
              <a:pPr>
                <a:defRPr/>
              </a:pPr>
              <a:t>38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71086878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A87A856-0095-494B-A1EB-DAD9DB107C8F}" type="slidenum">
              <a:rPr lang="en-US" altLang="ko-KR" smtClean="0"/>
              <a:pPr>
                <a:defRPr/>
              </a:pPr>
              <a:t>39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2939334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A87A856-0095-494B-A1EB-DAD9DB107C8F}" type="slidenum">
              <a:rPr lang="en-US" altLang="ko-KR" smtClean="0"/>
              <a:pPr>
                <a:defRPr/>
              </a:pPr>
              <a:t>40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72871523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A87A856-0095-494B-A1EB-DAD9DB107C8F}" type="slidenum">
              <a:rPr lang="en-US" altLang="ko-KR" smtClean="0"/>
              <a:pPr>
                <a:defRPr/>
              </a:pPr>
              <a:t>41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42286879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A87A856-0095-494B-A1EB-DAD9DB107C8F}" type="slidenum">
              <a:rPr lang="en-US" altLang="ko-KR" smtClean="0"/>
              <a:pPr>
                <a:defRPr/>
              </a:pPr>
              <a:t>15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99337488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A87A856-0095-494B-A1EB-DAD9DB107C8F}" type="slidenum">
              <a:rPr lang="en-US" altLang="ko-KR" smtClean="0"/>
              <a:pPr>
                <a:defRPr/>
              </a:pPr>
              <a:t>42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49718719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A87A856-0095-494B-A1EB-DAD9DB107C8F}" type="slidenum">
              <a:rPr lang="en-US" altLang="ko-KR" smtClean="0"/>
              <a:pPr>
                <a:defRPr/>
              </a:pPr>
              <a:t>43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338825055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A87A856-0095-494B-A1EB-DAD9DB107C8F}" type="slidenum">
              <a:rPr lang="en-US" altLang="ko-KR" smtClean="0"/>
              <a:pPr>
                <a:defRPr/>
              </a:pPr>
              <a:t>44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407105112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A87A856-0095-494B-A1EB-DAD9DB107C8F}" type="slidenum">
              <a:rPr lang="en-US" altLang="ko-KR" smtClean="0"/>
              <a:pPr>
                <a:defRPr/>
              </a:pPr>
              <a:t>45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42158665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A87A856-0095-494B-A1EB-DAD9DB107C8F}" type="slidenum">
              <a:rPr lang="en-US" altLang="ko-KR" smtClean="0"/>
              <a:pPr>
                <a:defRPr/>
              </a:pPr>
              <a:t>46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277710255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A87A856-0095-494B-A1EB-DAD9DB107C8F}" type="slidenum">
              <a:rPr lang="en-US" altLang="ko-KR" smtClean="0"/>
              <a:pPr>
                <a:defRPr/>
              </a:pPr>
              <a:t>47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074992246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A87A856-0095-494B-A1EB-DAD9DB107C8F}" type="slidenum">
              <a:rPr lang="en-US" altLang="ko-KR" smtClean="0"/>
              <a:pPr>
                <a:defRPr/>
              </a:pPr>
              <a:t>48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80011266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A87A856-0095-494B-A1EB-DAD9DB107C8F}" type="slidenum">
              <a:rPr lang="en-US" altLang="ko-KR" smtClean="0"/>
              <a:pPr>
                <a:defRPr/>
              </a:pPr>
              <a:t>49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027811285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A87A856-0095-494B-A1EB-DAD9DB107C8F}" type="slidenum">
              <a:rPr lang="en-US" altLang="ko-KR" smtClean="0"/>
              <a:pPr>
                <a:defRPr/>
              </a:pPr>
              <a:t>50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5162405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A87A856-0095-494B-A1EB-DAD9DB107C8F}" type="slidenum">
              <a:rPr lang="en-US" altLang="ko-KR" smtClean="0"/>
              <a:pPr>
                <a:defRPr/>
              </a:pPr>
              <a:t>16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0331173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A87A856-0095-494B-A1EB-DAD9DB107C8F}" type="slidenum">
              <a:rPr lang="en-US" altLang="ko-KR" smtClean="0"/>
              <a:pPr>
                <a:defRPr/>
              </a:pPr>
              <a:t>17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8808894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A87A856-0095-494B-A1EB-DAD9DB107C8F}" type="slidenum">
              <a:rPr lang="en-US" altLang="ko-KR" smtClean="0"/>
              <a:pPr>
                <a:defRPr/>
              </a:pPr>
              <a:t>18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90670148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A87A856-0095-494B-A1EB-DAD9DB107C8F}" type="slidenum">
              <a:rPr lang="en-US" altLang="ko-KR" smtClean="0"/>
              <a:pPr>
                <a:defRPr/>
              </a:pPr>
              <a:t>19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78621739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A87A856-0095-494B-A1EB-DAD9DB107C8F}" type="slidenum">
              <a:rPr lang="en-US" altLang="ko-KR" smtClean="0"/>
              <a:pPr>
                <a:defRPr/>
              </a:pPr>
              <a:t>20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65288989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A87A856-0095-494B-A1EB-DAD9DB107C8F}" type="slidenum">
              <a:rPr lang="en-US" altLang="ko-KR" smtClean="0"/>
              <a:pPr>
                <a:defRPr/>
              </a:pPr>
              <a:t>21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0164138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3.pn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3.pn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3.pn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3.pn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273094D9-4B1A-4D2C-80C3-CBE9B57071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C774D7-E46F-4BDF-93BA-2EE2D34C143B}" type="datetimeFigureOut">
              <a:rPr lang="ko-KR" altLang="en-US" smtClean="0"/>
              <a:t>2023. 7. 6.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DB39F281-3176-449B-8CC6-0487439F12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BFFD4B5-9111-4638-9C42-678CECCFF9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B75E81-61BD-46E8-BF8F-D87FD02054A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0903652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내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그룹 52">
            <a:extLst>
              <a:ext uri="{FF2B5EF4-FFF2-40B4-BE49-F238E27FC236}">
                <a16:creationId xmlns:a16="http://schemas.microsoft.com/office/drawing/2014/main" id="{36F83EB8-E6BD-4571-92A6-12D30D419F8C}"/>
              </a:ext>
            </a:extLst>
          </p:cNvPr>
          <p:cNvGrpSpPr/>
          <p:nvPr userDrawn="1"/>
        </p:nvGrpSpPr>
        <p:grpSpPr>
          <a:xfrm>
            <a:off x="0" y="874079"/>
            <a:ext cx="12192000" cy="518908"/>
            <a:chOff x="0" y="749852"/>
            <a:chExt cx="9906000" cy="518908"/>
          </a:xfrm>
        </p:grpSpPr>
        <p:sp>
          <p:nvSpPr>
            <p:cNvPr id="54" name="직사각형 53">
              <a:extLst>
                <a:ext uri="{FF2B5EF4-FFF2-40B4-BE49-F238E27FC236}">
                  <a16:creationId xmlns:a16="http://schemas.microsoft.com/office/drawing/2014/main" id="{305AF673-E26F-4C71-BF68-E4ADD7DDBA5D}"/>
                </a:ext>
              </a:extLst>
            </p:cNvPr>
            <p:cNvSpPr/>
            <p:nvPr userDrawn="1"/>
          </p:nvSpPr>
          <p:spPr bwMode="auto">
            <a:xfrm>
              <a:off x="0" y="749852"/>
              <a:ext cx="9906000" cy="518908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lvl="0" algn="ctr" defTabSz="457200" eaLnBrk="1" latinLnBrk="0" hangingPunct="1"/>
              <a:endParaRPr lang="ko-KR" altLang="en-US" sz="18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55" name="직사각형 54">
              <a:extLst>
                <a:ext uri="{FF2B5EF4-FFF2-40B4-BE49-F238E27FC236}">
                  <a16:creationId xmlns:a16="http://schemas.microsoft.com/office/drawing/2014/main" id="{81FC9AED-A3A6-4422-A412-21464F69D367}"/>
                </a:ext>
              </a:extLst>
            </p:cNvPr>
            <p:cNvSpPr/>
            <p:nvPr userDrawn="1"/>
          </p:nvSpPr>
          <p:spPr>
            <a:xfrm>
              <a:off x="9837688" y="749852"/>
              <a:ext cx="68312" cy="518908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57" name="직사각형 56">
              <a:extLst>
                <a:ext uri="{FF2B5EF4-FFF2-40B4-BE49-F238E27FC236}">
                  <a16:creationId xmlns:a16="http://schemas.microsoft.com/office/drawing/2014/main" id="{4BBC0B70-6304-4E1C-A6C2-B0077ED4FC07}"/>
                </a:ext>
              </a:extLst>
            </p:cNvPr>
            <p:cNvSpPr/>
            <p:nvPr userDrawn="1"/>
          </p:nvSpPr>
          <p:spPr>
            <a:xfrm>
              <a:off x="1" y="749852"/>
              <a:ext cx="68312" cy="518908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</p:grpSp>
      <p:graphicFrame>
        <p:nvGraphicFramePr>
          <p:cNvPr id="5" name="개체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5" name="개체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직사각형 55"/>
          <p:cNvSpPr/>
          <p:nvPr userDrawn="1"/>
        </p:nvSpPr>
        <p:spPr>
          <a:xfrm>
            <a:off x="5867412" y="6580001"/>
            <a:ext cx="457176" cy="2308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/>
            <a:fld id="{BC41C62D-11DA-4B3C-95BA-2F1C14FD1816}" type="slidenum">
              <a:rPr kumimoji="0" lang="ko-KR" altLang="en-US" sz="900" b="1" smtClean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pPr algn="ctr"/>
              <a:t>‹#›</a:t>
            </a:fld>
            <a:endParaRPr lang="ko-KR" altLang="en-US" sz="900" b="1" dirty="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solidFill>
                <a:schemeClr val="tx1">
                  <a:lumMod val="50000"/>
                  <a:lumOff val="50000"/>
                </a:schemeClr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grpSp>
        <p:nvGrpSpPr>
          <p:cNvPr id="9" name="그룹 8">
            <a:extLst>
              <a:ext uri="{FF2B5EF4-FFF2-40B4-BE49-F238E27FC236}">
                <a16:creationId xmlns:a16="http://schemas.microsoft.com/office/drawing/2014/main" id="{A8EDF732-DA14-4E1D-AAAC-F80BAE2F455F}"/>
              </a:ext>
            </a:extLst>
          </p:cNvPr>
          <p:cNvGrpSpPr/>
          <p:nvPr userDrawn="1"/>
        </p:nvGrpSpPr>
        <p:grpSpPr>
          <a:xfrm>
            <a:off x="-24554" y="6781278"/>
            <a:ext cx="12216554" cy="76722"/>
            <a:chOff x="-19950" y="6808662"/>
            <a:chExt cx="9925950" cy="76722"/>
          </a:xfrm>
        </p:grpSpPr>
        <p:sp>
          <p:nvSpPr>
            <p:cNvPr id="28" name="직사각형 27">
              <a:extLst>
                <a:ext uri="{FF2B5EF4-FFF2-40B4-BE49-F238E27FC236}">
                  <a16:creationId xmlns:a16="http://schemas.microsoft.com/office/drawing/2014/main" id="{EA80A4B2-F2C2-4496-BCEF-E12946709056}"/>
                </a:ext>
              </a:extLst>
            </p:cNvPr>
            <p:cNvSpPr/>
            <p:nvPr userDrawn="1"/>
          </p:nvSpPr>
          <p:spPr>
            <a:xfrm>
              <a:off x="-19950" y="6808662"/>
              <a:ext cx="9925950" cy="7672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3" name="직사각형 2">
              <a:extLst>
                <a:ext uri="{FF2B5EF4-FFF2-40B4-BE49-F238E27FC236}">
                  <a16:creationId xmlns:a16="http://schemas.microsoft.com/office/drawing/2014/main" id="{1B0EE37F-5693-41DD-85C7-80C39FCC7EB3}"/>
                </a:ext>
              </a:extLst>
            </p:cNvPr>
            <p:cNvSpPr/>
            <p:nvPr userDrawn="1"/>
          </p:nvSpPr>
          <p:spPr>
            <a:xfrm>
              <a:off x="4716397" y="6808662"/>
              <a:ext cx="473206" cy="7672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</p:grpSp>
      <p:sp>
        <p:nvSpPr>
          <p:cNvPr id="48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1537521" y="445353"/>
            <a:ext cx="8103489" cy="28469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0" rIns="9144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sz="2000" b="1" baseline="0">
                <a:ln>
                  <a:solidFill>
                    <a:srgbClr val="F36622">
                      <a:alpha val="0"/>
                    </a:srgb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pPr lvl="0"/>
            <a:r>
              <a:rPr lang="en-US" altLang="ko-KR" dirty="0"/>
              <a:t>Page Title</a:t>
            </a:r>
            <a:endParaRPr lang="ko-KR" altLang="en-US" dirty="0"/>
          </a:p>
        </p:txBody>
      </p:sp>
      <p:sp>
        <p:nvSpPr>
          <p:cNvPr id="58" name="텍스트 개체 틀 16"/>
          <p:cNvSpPr>
            <a:spLocks noGrp="1"/>
          </p:cNvSpPr>
          <p:nvPr>
            <p:ph type="body" sz="quarter" idx="12" hasCustomPrompt="1"/>
          </p:nvPr>
        </p:nvSpPr>
        <p:spPr>
          <a:xfrm>
            <a:off x="5245127" y="938542"/>
            <a:ext cx="1701748" cy="390107"/>
          </a:xfrm>
          <a:prstGeom prst="rect">
            <a:avLst/>
          </a:prstGeom>
        </p:spPr>
        <p:txBody>
          <a:bodyPr wrap="none" anchor="ctr">
            <a:spAutoFit/>
          </a:bodyPr>
          <a:lstStyle>
            <a:lvl1pPr marL="0" indent="0" algn="ctr" latinLnBrk="0">
              <a:lnSpc>
                <a:spcPct val="110000"/>
              </a:lnSpc>
              <a:buNone/>
              <a:defRPr sz="1800" b="1" baseline="0">
                <a:ln>
                  <a:solidFill>
                    <a:srgbClr val="F36622">
                      <a:alpha val="0"/>
                    </a:srgbClr>
                  </a:solidFill>
                </a:ln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pPr lvl="0"/>
            <a:r>
              <a:rPr lang="en-US" altLang="ko-KR" dirty="0"/>
              <a:t>Main Message</a:t>
            </a:r>
            <a:endParaRPr lang="ko-KR" altLang="ko-KR" dirty="0"/>
          </a:p>
        </p:txBody>
      </p:sp>
      <p:pic>
        <p:nvPicPr>
          <p:cNvPr id="50" name="그래픽 3">
            <a:extLst>
              <a:ext uri="{FF2B5EF4-FFF2-40B4-BE49-F238E27FC236}">
                <a16:creationId xmlns:a16="http://schemas.microsoft.com/office/drawing/2014/main" id="{5419C78B-58E7-48A3-ACB3-2789EDECC14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r="40428" b="-26173"/>
          <a:stretch/>
        </p:blipFill>
        <p:spPr>
          <a:xfrm>
            <a:off x="10850004" y="6438900"/>
            <a:ext cx="1047963" cy="302469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A20E7957-3B65-4E2E-9E85-990E094DB10A}"/>
              </a:ext>
            </a:extLst>
          </p:cNvPr>
          <p:cNvSpPr txBox="1"/>
          <p:nvPr userDrawn="1"/>
        </p:nvSpPr>
        <p:spPr>
          <a:xfrm>
            <a:off x="1461966" y="124560"/>
            <a:ext cx="3595856" cy="224677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 marL="0" algn="l" defTabSz="457200" rtl="0" eaLnBrk="1" latinLnBrk="0" hangingPunct="1">
              <a:lnSpc>
                <a:spcPct val="110000"/>
              </a:lnSpc>
            </a:pPr>
            <a:r>
              <a:rPr lang="ko-KR" altLang="en-US" sz="800" kern="120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rPr>
              <a:t>「</a:t>
            </a:r>
            <a:r>
              <a:rPr lang="en-US" altLang="ko-KR" sz="800" kern="120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rPr>
              <a:t>2023</a:t>
            </a:r>
            <a:r>
              <a:rPr lang="ko-KR" altLang="en-US" sz="800" kern="120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rPr>
              <a:t>년도 마이데이터 종합기반 조성사업」 의료재활 마이데이터 오퍼레이터 플랫폼</a:t>
            </a:r>
            <a:endParaRPr lang="en-US" altLang="ko-KR" sz="800" kern="120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chemeClr val="tx1">
                  <a:lumMod val="50000"/>
                  <a:lumOff val="50000"/>
                </a:schemeClr>
              </a:solidFill>
              <a:latin typeface="나눔바른고딕" panose="020B0603020101020101" pitchFamily="50" charset="-127"/>
              <a:ea typeface="나눔바른고딕" panose="020B0603020101020101" pitchFamily="50" charset="-127"/>
              <a:cs typeface="+mn-cs"/>
            </a:endParaRPr>
          </a:p>
        </p:txBody>
      </p:sp>
      <p:grpSp>
        <p:nvGrpSpPr>
          <p:cNvPr id="23" name="그룹 22">
            <a:extLst>
              <a:ext uri="{FF2B5EF4-FFF2-40B4-BE49-F238E27FC236}">
                <a16:creationId xmlns:a16="http://schemas.microsoft.com/office/drawing/2014/main" id="{E4148FAC-DC2F-44F2-8B19-7F51869EEE82}"/>
              </a:ext>
            </a:extLst>
          </p:cNvPr>
          <p:cNvGrpSpPr/>
          <p:nvPr userDrawn="1"/>
        </p:nvGrpSpPr>
        <p:grpSpPr>
          <a:xfrm>
            <a:off x="423986" y="0"/>
            <a:ext cx="1000114" cy="876252"/>
            <a:chOff x="423986" y="0"/>
            <a:chExt cx="1000114" cy="876252"/>
          </a:xfrm>
        </p:grpSpPr>
        <p:sp>
          <p:nvSpPr>
            <p:cNvPr id="24" name="직각 삼각형 23">
              <a:extLst>
                <a:ext uri="{FF2B5EF4-FFF2-40B4-BE49-F238E27FC236}">
                  <a16:creationId xmlns:a16="http://schemas.microsoft.com/office/drawing/2014/main" id="{507898B3-4DA1-49D1-965A-09B56AA36DC9}"/>
                </a:ext>
              </a:extLst>
            </p:cNvPr>
            <p:cNvSpPr/>
            <p:nvPr userDrawn="1"/>
          </p:nvSpPr>
          <p:spPr>
            <a:xfrm flipV="1">
              <a:off x="1351059" y="314365"/>
              <a:ext cx="73041" cy="45719"/>
            </a:xfrm>
            <a:prstGeom prst="rtTriangle">
              <a:avLst/>
            </a:prstGeom>
            <a:solidFill>
              <a:srgbClr val="677E9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25" name="사각형: 둥근 한쪽 모서리 14">
              <a:extLst>
                <a:ext uri="{FF2B5EF4-FFF2-40B4-BE49-F238E27FC236}">
                  <a16:creationId xmlns:a16="http://schemas.microsoft.com/office/drawing/2014/main" id="{7E2321BE-259E-41ED-AD0A-38F73E7AF509}"/>
                </a:ext>
              </a:extLst>
            </p:cNvPr>
            <p:cNvSpPr/>
            <p:nvPr userDrawn="1"/>
          </p:nvSpPr>
          <p:spPr>
            <a:xfrm>
              <a:off x="423986" y="0"/>
              <a:ext cx="927468" cy="876252"/>
            </a:xfrm>
            <a:prstGeom prst="round1Rect">
              <a:avLst>
                <a:gd name="adj" fmla="val 0"/>
              </a:avLst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ko-KR" altLang="en-US" sz="180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grpSp>
          <p:nvGrpSpPr>
            <p:cNvPr id="26" name="그룹 25">
              <a:extLst>
                <a:ext uri="{FF2B5EF4-FFF2-40B4-BE49-F238E27FC236}">
                  <a16:creationId xmlns:a16="http://schemas.microsoft.com/office/drawing/2014/main" id="{1D128941-6B17-41A2-9D02-031772D35074}"/>
                </a:ext>
              </a:extLst>
            </p:cNvPr>
            <p:cNvGrpSpPr/>
            <p:nvPr userDrawn="1"/>
          </p:nvGrpSpPr>
          <p:grpSpPr>
            <a:xfrm>
              <a:off x="424182" y="130594"/>
              <a:ext cx="999722" cy="201658"/>
              <a:chOff x="307975" y="143295"/>
              <a:chExt cx="828601" cy="201658"/>
            </a:xfrm>
          </p:grpSpPr>
          <p:sp>
            <p:nvSpPr>
              <p:cNvPr id="31" name="직사각형 30">
                <a:extLst>
                  <a:ext uri="{FF2B5EF4-FFF2-40B4-BE49-F238E27FC236}">
                    <a16:creationId xmlns:a16="http://schemas.microsoft.com/office/drawing/2014/main" id="{803F25F8-CBF9-4DAD-9B2A-2896774DE859}"/>
                  </a:ext>
                </a:extLst>
              </p:cNvPr>
              <p:cNvSpPr/>
              <p:nvPr/>
            </p:nvSpPr>
            <p:spPr>
              <a:xfrm>
                <a:off x="307975" y="170585"/>
                <a:ext cx="828601" cy="158025"/>
              </a:xfrm>
              <a:prstGeom prst="rect">
                <a:avLst/>
              </a:prstGeom>
              <a:solidFill>
                <a:srgbClr val="075E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0" algn="ctr"/>
                <a:endParaRPr lang="ko-KR" altLang="en-US" sz="1800">
                  <a:latin typeface="나눔바른고딕" panose="020B0603020101020101" pitchFamily="50" charset="-127"/>
                  <a:ea typeface="나눔바른고딕" panose="020B0603020101020101" pitchFamily="50" charset="-127"/>
                </a:endParaRPr>
              </a:p>
            </p:txBody>
          </p: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C66CED63-5ED2-4B5A-8AA8-3C0C9C1CE8BB}"/>
                  </a:ext>
                </a:extLst>
              </p:cNvPr>
              <p:cNvSpPr txBox="1"/>
              <p:nvPr/>
            </p:nvSpPr>
            <p:spPr>
              <a:xfrm>
                <a:off x="469587" y="143295"/>
                <a:ext cx="491855" cy="201658"/>
              </a:xfrm>
              <a:prstGeom prst="rect">
                <a:avLst/>
              </a:prstGeom>
              <a:noFill/>
            </p:spPr>
            <p:txBody>
              <a:bodyPr wrap="none" anchor="ctr">
                <a:spAutoFit/>
              </a:bodyPr>
              <a:lstStyle/>
              <a:p>
                <a:pPr marL="0" algn="dist" defTabSz="457200" rtl="0" eaLnBrk="1" latinLnBrk="0" hangingPunct="1">
                  <a:lnSpc>
                    <a:spcPct val="110000"/>
                  </a:lnSpc>
                </a:pPr>
                <a:r>
                  <a:rPr lang="en-US" altLang="ko-KR" sz="700" b="0" spc="100" baseline="0" dirty="0">
                    <a:ln>
                      <a:solidFill>
                        <a:schemeClr val="accent1"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나눔바른고딕" panose="020B0603020101020101" pitchFamily="50" charset="-127"/>
                    <a:cs typeface="Arial" panose="020B0604020202020204" pitchFamily="34" charset="0"/>
                  </a:rPr>
                  <a:t>Chapter</a:t>
                </a:r>
                <a:endParaRPr lang="en-US" altLang="ko-KR" sz="700" b="0" kern="1200" spc="100" baseline="0" dirty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나눔바른고딕" panose="020B0603020101020101" pitchFamily="50" charset="-127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79FB6CE1-3F5A-47D0-9A51-22ADD8094CC4}"/>
                </a:ext>
              </a:extLst>
            </p:cNvPr>
            <p:cNvSpPr txBox="1"/>
            <p:nvPr userDrawn="1"/>
          </p:nvSpPr>
          <p:spPr bwMode="auto">
            <a:xfrm>
              <a:off x="824526" y="283049"/>
              <a:ext cx="126389" cy="3798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18000" tIns="18000" rIns="18000" bIns="18000" numCol="1" rtlCol="0" anchor="b" anchorCtr="0" compatLnSpc="1">
              <a:prstTxWarp prst="textNoShape">
                <a:avLst/>
              </a:prstTxWarp>
              <a:spAutoFit/>
            </a:bodyPr>
            <a:lstStyle/>
            <a:p>
              <a:pPr algn="ctr" eaLnBrk="0" latinLnBrk="1" hangingPunct="0">
                <a:lnSpc>
                  <a:spcPct val="110000"/>
                </a:lnSpc>
              </a:pPr>
              <a:r>
                <a:rPr kumimoji="1" lang="en-US" altLang="ko-KR" sz="2200" b="1" u="none" strike="noStrike" kern="0" cap="none" spc="0" normalizeH="0" baseline="0" noProof="0" dirty="0">
                  <a:ln>
                    <a:solidFill>
                      <a:srgbClr val="F36622">
                        <a:alpha val="0"/>
                      </a:srgbClr>
                    </a:solidFill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ea typeface="나눔바른고딕" panose="020B0603020101020101" pitchFamily="50" charset="-127"/>
                  <a:cs typeface="Arial" panose="020B0604020202020204" pitchFamily="34" charset="0"/>
                </a:rPr>
                <a:t>I</a:t>
              </a:r>
            </a:p>
          </p:txBody>
        </p:sp>
        <p:sp>
          <p:nvSpPr>
            <p:cNvPr id="29" name="사각형: 둥근 모서리 28">
              <a:extLst>
                <a:ext uri="{FF2B5EF4-FFF2-40B4-BE49-F238E27FC236}">
                  <a16:creationId xmlns:a16="http://schemas.microsoft.com/office/drawing/2014/main" id="{621B2AD7-7BC5-4511-9DCE-A92A76DF75C8}"/>
                </a:ext>
              </a:extLst>
            </p:cNvPr>
            <p:cNvSpPr/>
            <p:nvPr userDrawn="1"/>
          </p:nvSpPr>
          <p:spPr>
            <a:xfrm>
              <a:off x="492809" y="641881"/>
              <a:ext cx="789822" cy="176330"/>
            </a:xfrm>
            <a:prstGeom prst="roundRect">
              <a:avLst>
                <a:gd name="adj" fmla="val 50000"/>
              </a:avLst>
            </a:prstGeom>
            <a:solidFill>
              <a:srgbClr val="14ACA8"/>
            </a:solidFill>
            <a:ln w="317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/>
              <a:r>
                <a:rPr lang="ko-KR" altLang="en-US" sz="800"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플랫폼</a:t>
              </a:r>
              <a:endParaRPr lang="ko-KR" altLang="en-US" sz="8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56954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>
        <p15:guide id="1" pos="217">
          <p15:clr>
            <a:srgbClr val="FBAE40"/>
          </p15:clr>
        </p15:guide>
        <p15:guide id="2" pos="6023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orient="horz" pos="98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내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5" name="개체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직사각형 55"/>
          <p:cNvSpPr/>
          <p:nvPr userDrawn="1"/>
        </p:nvSpPr>
        <p:spPr>
          <a:xfrm>
            <a:off x="5867412" y="6580001"/>
            <a:ext cx="457176" cy="2308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/>
            <a:fld id="{BC41C62D-11DA-4B3C-95BA-2F1C14FD1816}" type="slidenum">
              <a:rPr kumimoji="0" lang="ko-KR" altLang="en-US" sz="900" b="1" smtClean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pPr algn="ctr"/>
              <a:t>‹#›</a:t>
            </a:fld>
            <a:endParaRPr lang="ko-KR" altLang="en-US" sz="900" b="1" dirty="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solidFill>
                <a:schemeClr val="tx1">
                  <a:lumMod val="50000"/>
                  <a:lumOff val="50000"/>
                </a:schemeClr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grpSp>
        <p:nvGrpSpPr>
          <p:cNvPr id="9" name="그룹 8">
            <a:extLst>
              <a:ext uri="{FF2B5EF4-FFF2-40B4-BE49-F238E27FC236}">
                <a16:creationId xmlns:a16="http://schemas.microsoft.com/office/drawing/2014/main" id="{A8EDF732-DA14-4E1D-AAAC-F80BAE2F455F}"/>
              </a:ext>
            </a:extLst>
          </p:cNvPr>
          <p:cNvGrpSpPr/>
          <p:nvPr userDrawn="1"/>
        </p:nvGrpSpPr>
        <p:grpSpPr>
          <a:xfrm>
            <a:off x="-24554" y="6781278"/>
            <a:ext cx="12216554" cy="76722"/>
            <a:chOff x="-19950" y="6808662"/>
            <a:chExt cx="9925950" cy="76722"/>
          </a:xfrm>
        </p:grpSpPr>
        <p:sp>
          <p:nvSpPr>
            <p:cNvPr id="28" name="직사각형 27">
              <a:extLst>
                <a:ext uri="{FF2B5EF4-FFF2-40B4-BE49-F238E27FC236}">
                  <a16:creationId xmlns:a16="http://schemas.microsoft.com/office/drawing/2014/main" id="{EA80A4B2-F2C2-4496-BCEF-E12946709056}"/>
                </a:ext>
              </a:extLst>
            </p:cNvPr>
            <p:cNvSpPr/>
            <p:nvPr userDrawn="1"/>
          </p:nvSpPr>
          <p:spPr>
            <a:xfrm>
              <a:off x="-19950" y="6808662"/>
              <a:ext cx="9925950" cy="7672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3" name="직사각형 2">
              <a:extLst>
                <a:ext uri="{FF2B5EF4-FFF2-40B4-BE49-F238E27FC236}">
                  <a16:creationId xmlns:a16="http://schemas.microsoft.com/office/drawing/2014/main" id="{1B0EE37F-5693-41DD-85C7-80C39FCC7EB3}"/>
                </a:ext>
              </a:extLst>
            </p:cNvPr>
            <p:cNvSpPr/>
            <p:nvPr userDrawn="1"/>
          </p:nvSpPr>
          <p:spPr>
            <a:xfrm>
              <a:off x="4716397" y="6808662"/>
              <a:ext cx="473206" cy="7672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</p:grpSp>
      <p:sp>
        <p:nvSpPr>
          <p:cNvPr id="48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1537521" y="445353"/>
            <a:ext cx="8103489" cy="28469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0" rIns="9144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sz="2000" b="1" baseline="0">
                <a:ln>
                  <a:solidFill>
                    <a:srgbClr val="F36622">
                      <a:alpha val="0"/>
                    </a:srgb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pPr lvl="0"/>
            <a:r>
              <a:rPr lang="en-US" altLang="ko-KR" dirty="0"/>
              <a:t>Page Title</a:t>
            </a:r>
            <a:endParaRPr lang="ko-KR" altLang="en-US" dirty="0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B063A1EC-C78C-4D4F-A9B9-30F227370469}"/>
              </a:ext>
            </a:extLst>
          </p:cNvPr>
          <p:cNvSpPr txBox="1"/>
          <p:nvPr userDrawn="1"/>
        </p:nvSpPr>
        <p:spPr>
          <a:xfrm>
            <a:off x="1461966" y="124560"/>
            <a:ext cx="3595856" cy="224677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 marL="0" algn="l" defTabSz="457200" rtl="0" eaLnBrk="1" latinLnBrk="0" hangingPunct="1">
              <a:lnSpc>
                <a:spcPct val="110000"/>
              </a:lnSpc>
            </a:pPr>
            <a:r>
              <a:rPr lang="ko-KR" altLang="en-US" sz="800" kern="120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rPr>
              <a:t>「</a:t>
            </a:r>
            <a:r>
              <a:rPr lang="en-US" altLang="ko-KR" sz="800" kern="120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rPr>
              <a:t>2023</a:t>
            </a:r>
            <a:r>
              <a:rPr lang="ko-KR" altLang="en-US" sz="800" kern="120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rPr>
              <a:t>년도 마이데이터 종합기반 조성사업」 의료재활 마이데이터 오퍼레이터 플랫폼</a:t>
            </a:r>
            <a:endParaRPr lang="en-US" altLang="ko-KR" sz="800" kern="120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chemeClr val="tx1">
                  <a:lumMod val="50000"/>
                  <a:lumOff val="50000"/>
                </a:schemeClr>
              </a:solidFill>
              <a:latin typeface="나눔바른고딕" panose="020B0603020101020101" pitchFamily="50" charset="-127"/>
              <a:ea typeface="나눔바른고딕" panose="020B0603020101020101" pitchFamily="50" charset="-127"/>
              <a:cs typeface="+mn-cs"/>
            </a:endParaRPr>
          </a:p>
        </p:txBody>
      </p:sp>
      <p:pic>
        <p:nvPicPr>
          <p:cNvPr id="30" name="그림 29">
            <a:extLst>
              <a:ext uri="{FF2B5EF4-FFF2-40B4-BE49-F238E27FC236}">
                <a16:creationId xmlns:a16="http://schemas.microsoft.com/office/drawing/2014/main" id="{43D520B5-B26F-46DB-967E-74396FC030D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863" y="866203"/>
            <a:ext cx="12192000" cy="213359"/>
          </a:xfrm>
          <a:prstGeom prst="rect">
            <a:avLst/>
          </a:prstGeom>
        </p:spPr>
      </p:pic>
      <p:pic>
        <p:nvPicPr>
          <p:cNvPr id="19" name="그래픽 3">
            <a:extLst>
              <a:ext uri="{FF2B5EF4-FFF2-40B4-BE49-F238E27FC236}">
                <a16:creationId xmlns:a16="http://schemas.microsoft.com/office/drawing/2014/main" id="{5453A56D-9B73-4104-97F0-4BAA23918C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r="40428" b="-26173"/>
          <a:stretch/>
        </p:blipFill>
        <p:spPr>
          <a:xfrm>
            <a:off x="10850004" y="6438900"/>
            <a:ext cx="1047963" cy="302469"/>
          </a:xfrm>
          <a:prstGeom prst="rect">
            <a:avLst/>
          </a:prstGeom>
        </p:spPr>
      </p:pic>
      <p:grpSp>
        <p:nvGrpSpPr>
          <p:cNvPr id="18" name="그룹 17">
            <a:extLst>
              <a:ext uri="{FF2B5EF4-FFF2-40B4-BE49-F238E27FC236}">
                <a16:creationId xmlns:a16="http://schemas.microsoft.com/office/drawing/2014/main" id="{637A639B-6213-4D3F-BD9C-E0B9F5EADC02}"/>
              </a:ext>
            </a:extLst>
          </p:cNvPr>
          <p:cNvGrpSpPr/>
          <p:nvPr userDrawn="1"/>
        </p:nvGrpSpPr>
        <p:grpSpPr>
          <a:xfrm>
            <a:off x="423986" y="0"/>
            <a:ext cx="1000114" cy="876252"/>
            <a:chOff x="423986" y="0"/>
            <a:chExt cx="1000114" cy="876252"/>
          </a:xfrm>
        </p:grpSpPr>
        <p:sp>
          <p:nvSpPr>
            <p:cNvPr id="20" name="직각 삼각형 19">
              <a:extLst>
                <a:ext uri="{FF2B5EF4-FFF2-40B4-BE49-F238E27FC236}">
                  <a16:creationId xmlns:a16="http://schemas.microsoft.com/office/drawing/2014/main" id="{30F1B11F-F090-41F6-8228-D2575E329FE4}"/>
                </a:ext>
              </a:extLst>
            </p:cNvPr>
            <p:cNvSpPr/>
            <p:nvPr userDrawn="1"/>
          </p:nvSpPr>
          <p:spPr>
            <a:xfrm flipV="1">
              <a:off x="1351059" y="314365"/>
              <a:ext cx="73041" cy="45719"/>
            </a:xfrm>
            <a:prstGeom prst="rtTriangle">
              <a:avLst/>
            </a:prstGeom>
            <a:solidFill>
              <a:srgbClr val="677E9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21" name="사각형: 둥근 한쪽 모서리 14">
              <a:extLst>
                <a:ext uri="{FF2B5EF4-FFF2-40B4-BE49-F238E27FC236}">
                  <a16:creationId xmlns:a16="http://schemas.microsoft.com/office/drawing/2014/main" id="{3D869C71-68F7-4458-B89F-3B17D08216C4}"/>
                </a:ext>
              </a:extLst>
            </p:cNvPr>
            <p:cNvSpPr/>
            <p:nvPr userDrawn="1"/>
          </p:nvSpPr>
          <p:spPr>
            <a:xfrm>
              <a:off x="423986" y="0"/>
              <a:ext cx="927468" cy="876252"/>
            </a:xfrm>
            <a:prstGeom prst="round1Rect">
              <a:avLst>
                <a:gd name="adj" fmla="val 0"/>
              </a:avLst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ko-KR" altLang="en-US" sz="180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grpSp>
          <p:nvGrpSpPr>
            <p:cNvPr id="22" name="그룹 21">
              <a:extLst>
                <a:ext uri="{FF2B5EF4-FFF2-40B4-BE49-F238E27FC236}">
                  <a16:creationId xmlns:a16="http://schemas.microsoft.com/office/drawing/2014/main" id="{2C7640A8-5B13-48AB-8949-0F33D60AD26B}"/>
                </a:ext>
              </a:extLst>
            </p:cNvPr>
            <p:cNvGrpSpPr/>
            <p:nvPr userDrawn="1"/>
          </p:nvGrpSpPr>
          <p:grpSpPr>
            <a:xfrm>
              <a:off x="424182" y="130594"/>
              <a:ext cx="999722" cy="201658"/>
              <a:chOff x="307975" y="143295"/>
              <a:chExt cx="828601" cy="201658"/>
            </a:xfrm>
          </p:grpSpPr>
          <p:sp>
            <p:nvSpPr>
              <p:cNvPr id="25" name="직사각형 24">
                <a:extLst>
                  <a:ext uri="{FF2B5EF4-FFF2-40B4-BE49-F238E27FC236}">
                    <a16:creationId xmlns:a16="http://schemas.microsoft.com/office/drawing/2014/main" id="{D6C5D55A-A3E1-4270-9C1F-DF5232F2C056}"/>
                  </a:ext>
                </a:extLst>
              </p:cNvPr>
              <p:cNvSpPr/>
              <p:nvPr/>
            </p:nvSpPr>
            <p:spPr>
              <a:xfrm>
                <a:off x="307975" y="170585"/>
                <a:ext cx="828601" cy="158025"/>
              </a:xfrm>
              <a:prstGeom prst="rect">
                <a:avLst/>
              </a:prstGeom>
              <a:solidFill>
                <a:srgbClr val="075E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0" algn="ctr"/>
                <a:endParaRPr lang="ko-KR" altLang="en-US" sz="1800">
                  <a:latin typeface="나눔바른고딕" panose="020B0603020101020101" pitchFamily="50" charset="-127"/>
                  <a:ea typeface="나눔바른고딕" panose="020B0603020101020101" pitchFamily="50" charset="-127"/>
                </a:endParaRPr>
              </a:p>
            </p:txBody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80C42119-48FE-4E5B-BC55-2E5F3FCF52C8}"/>
                  </a:ext>
                </a:extLst>
              </p:cNvPr>
              <p:cNvSpPr txBox="1"/>
              <p:nvPr/>
            </p:nvSpPr>
            <p:spPr>
              <a:xfrm>
                <a:off x="469587" y="143295"/>
                <a:ext cx="491855" cy="201658"/>
              </a:xfrm>
              <a:prstGeom prst="rect">
                <a:avLst/>
              </a:prstGeom>
              <a:noFill/>
            </p:spPr>
            <p:txBody>
              <a:bodyPr wrap="none" anchor="ctr">
                <a:spAutoFit/>
              </a:bodyPr>
              <a:lstStyle/>
              <a:p>
                <a:pPr marL="0" algn="dist" defTabSz="457200" rtl="0" eaLnBrk="1" latinLnBrk="0" hangingPunct="1">
                  <a:lnSpc>
                    <a:spcPct val="110000"/>
                  </a:lnSpc>
                </a:pPr>
                <a:r>
                  <a:rPr lang="en-US" altLang="ko-KR" sz="700" b="0" spc="100" baseline="0" dirty="0">
                    <a:ln>
                      <a:solidFill>
                        <a:schemeClr val="accent1"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나눔바른고딕" panose="020B0603020101020101" pitchFamily="50" charset="-127"/>
                    <a:cs typeface="Arial" panose="020B0604020202020204" pitchFamily="34" charset="0"/>
                  </a:rPr>
                  <a:t>Chapter</a:t>
                </a:r>
                <a:endParaRPr lang="en-US" altLang="ko-KR" sz="700" b="0" kern="1200" spc="100" baseline="0" dirty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나눔바른고딕" panose="020B0603020101020101" pitchFamily="50" charset="-127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9DC8CF59-3EC8-46D2-B91D-304B6269CB87}"/>
                </a:ext>
              </a:extLst>
            </p:cNvPr>
            <p:cNvSpPr txBox="1"/>
            <p:nvPr userDrawn="1"/>
          </p:nvSpPr>
          <p:spPr bwMode="auto">
            <a:xfrm>
              <a:off x="728481" y="283562"/>
              <a:ext cx="318480" cy="379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18000" tIns="18000" rIns="18000" bIns="18000" numCol="1" rtlCol="0" anchor="b" anchorCtr="0" compatLnSpc="1">
              <a:prstTxWarp prst="textNoShape">
                <a:avLst/>
              </a:prstTxWarp>
              <a:spAutoFit/>
            </a:bodyPr>
            <a:lstStyle/>
            <a:p>
              <a:pPr algn="ctr" eaLnBrk="0" latinLnBrk="1" hangingPunct="0">
                <a:lnSpc>
                  <a:spcPct val="110000"/>
                </a:lnSpc>
              </a:pPr>
              <a:r>
                <a:rPr kumimoji="1" lang="en-US" altLang="ko-KR" sz="2200" b="1" u="none" strike="noStrike" kern="0" cap="none" spc="0" normalizeH="0" baseline="0" noProof="0">
                  <a:ln>
                    <a:solidFill>
                      <a:srgbClr val="F36622">
                        <a:alpha val="0"/>
                      </a:srgbClr>
                    </a:solidFill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ea typeface="나눔바른고딕" panose="020B0603020101020101" pitchFamily="50" charset="-127"/>
                  <a:cs typeface="Arial" panose="020B0604020202020204" pitchFamily="34" charset="0"/>
                </a:rPr>
                <a:t>Ⅱ</a:t>
              </a:r>
              <a:endParaRPr kumimoji="1" lang="en-US" altLang="ko-KR" sz="2200" b="1" u="none" strike="noStrike" kern="0" cap="none" spc="0" normalizeH="0" baseline="0" noProof="0" dirty="0">
                <a:ln>
                  <a:solidFill>
                    <a:srgbClr val="F36622">
                      <a:alpha val="0"/>
                    </a:srgbClr>
                  </a:solidFill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나눔바른고딕" panose="020B060302010102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4" name="사각형: 둥근 모서리 23">
              <a:extLst>
                <a:ext uri="{FF2B5EF4-FFF2-40B4-BE49-F238E27FC236}">
                  <a16:creationId xmlns:a16="http://schemas.microsoft.com/office/drawing/2014/main" id="{06DA22E6-B30D-4EBA-8F83-91094F48E50F}"/>
                </a:ext>
              </a:extLst>
            </p:cNvPr>
            <p:cNvSpPr/>
            <p:nvPr userDrawn="1"/>
          </p:nvSpPr>
          <p:spPr>
            <a:xfrm>
              <a:off x="492809" y="641881"/>
              <a:ext cx="789822" cy="176330"/>
            </a:xfrm>
            <a:prstGeom prst="roundRect">
              <a:avLst>
                <a:gd name="adj" fmla="val 50000"/>
              </a:avLst>
            </a:prstGeom>
            <a:solidFill>
              <a:srgbClr val="14ACA8"/>
            </a:solidFill>
            <a:ln w="317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/>
              <a:r>
                <a:rPr lang="ko-KR" altLang="en-US" sz="800"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서비스</a:t>
              </a:r>
              <a:endParaRPr lang="ko-KR" altLang="en-US" sz="8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59834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>
        <p15:guide id="1" pos="217">
          <p15:clr>
            <a:srgbClr val="FBAE40"/>
          </p15:clr>
        </p15:guide>
        <p15:guide id="2" pos="6023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orient="horz" pos="98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내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그룹 52">
            <a:extLst>
              <a:ext uri="{FF2B5EF4-FFF2-40B4-BE49-F238E27FC236}">
                <a16:creationId xmlns:a16="http://schemas.microsoft.com/office/drawing/2014/main" id="{36F83EB8-E6BD-4571-92A6-12D30D419F8C}"/>
              </a:ext>
            </a:extLst>
          </p:cNvPr>
          <p:cNvGrpSpPr/>
          <p:nvPr userDrawn="1"/>
        </p:nvGrpSpPr>
        <p:grpSpPr>
          <a:xfrm>
            <a:off x="0" y="874079"/>
            <a:ext cx="12192000" cy="518908"/>
            <a:chOff x="0" y="749852"/>
            <a:chExt cx="9906000" cy="518908"/>
          </a:xfrm>
        </p:grpSpPr>
        <p:sp>
          <p:nvSpPr>
            <p:cNvPr id="54" name="직사각형 53">
              <a:extLst>
                <a:ext uri="{FF2B5EF4-FFF2-40B4-BE49-F238E27FC236}">
                  <a16:creationId xmlns:a16="http://schemas.microsoft.com/office/drawing/2014/main" id="{305AF673-E26F-4C71-BF68-E4ADD7DDBA5D}"/>
                </a:ext>
              </a:extLst>
            </p:cNvPr>
            <p:cNvSpPr/>
            <p:nvPr userDrawn="1"/>
          </p:nvSpPr>
          <p:spPr bwMode="auto">
            <a:xfrm>
              <a:off x="0" y="749852"/>
              <a:ext cx="9906000" cy="518908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lvl="0" algn="ctr" defTabSz="457200" eaLnBrk="1" latinLnBrk="0" hangingPunct="1"/>
              <a:endParaRPr lang="ko-KR" altLang="en-US" sz="18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55" name="직사각형 54">
              <a:extLst>
                <a:ext uri="{FF2B5EF4-FFF2-40B4-BE49-F238E27FC236}">
                  <a16:creationId xmlns:a16="http://schemas.microsoft.com/office/drawing/2014/main" id="{81FC9AED-A3A6-4422-A412-21464F69D367}"/>
                </a:ext>
              </a:extLst>
            </p:cNvPr>
            <p:cNvSpPr/>
            <p:nvPr userDrawn="1"/>
          </p:nvSpPr>
          <p:spPr>
            <a:xfrm>
              <a:off x="9837688" y="749852"/>
              <a:ext cx="68312" cy="518908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57" name="직사각형 56">
              <a:extLst>
                <a:ext uri="{FF2B5EF4-FFF2-40B4-BE49-F238E27FC236}">
                  <a16:creationId xmlns:a16="http://schemas.microsoft.com/office/drawing/2014/main" id="{4BBC0B70-6304-4E1C-A6C2-B0077ED4FC07}"/>
                </a:ext>
              </a:extLst>
            </p:cNvPr>
            <p:cNvSpPr/>
            <p:nvPr userDrawn="1"/>
          </p:nvSpPr>
          <p:spPr>
            <a:xfrm>
              <a:off x="1" y="749852"/>
              <a:ext cx="68312" cy="518908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</p:grpSp>
      <p:graphicFrame>
        <p:nvGraphicFramePr>
          <p:cNvPr id="5" name="개체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5" name="개체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직사각형 55"/>
          <p:cNvSpPr/>
          <p:nvPr userDrawn="1"/>
        </p:nvSpPr>
        <p:spPr>
          <a:xfrm>
            <a:off x="5867412" y="6580001"/>
            <a:ext cx="457176" cy="2308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/>
            <a:fld id="{BC41C62D-11DA-4B3C-95BA-2F1C14FD1816}" type="slidenum">
              <a:rPr kumimoji="0" lang="ko-KR" altLang="en-US" sz="900" b="1" smtClean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pPr algn="ctr"/>
              <a:t>‹#›</a:t>
            </a:fld>
            <a:endParaRPr lang="ko-KR" altLang="en-US" sz="900" b="1" dirty="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solidFill>
                <a:schemeClr val="tx1">
                  <a:lumMod val="50000"/>
                  <a:lumOff val="50000"/>
                </a:schemeClr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grpSp>
        <p:nvGrpSpPr>
          <p:cNvPr id="9" name="그룹 8">
            <a:extLst>
              <a:ext uri="{FF2B5EF4-FFF2-40B4-BE49-F238E27FC236}">
                <a16:creationId xmlns:a16="http://schemas.microsoft.com/office/drawing/2014/main" id="{A8EDF732-DA14-4E1D-AAAC-F80BAE2F455F}"/>
              </a:ext>
            </a:extLst>
          </p:cNvPr>
          <p:cNvGrpSpPr/>
          <p:nvPr userDrawn="1"/>
        </p:nvGrpSpPr>
        <p:grpSpPr>
          <a:xfrm>
            <a:off x="-24554" y="6781278"/>
            <a:ext cx="12216554" cy="76722"/>
            <a:chOff x="-19950" y="6808662"/>
            <a:chExt cx="9925950" cy="76722"/>
          </a:xfrm>
        </p:grpSpPr>
        <p:sp>
          <p:nvSpPr>
            <p:cNvPr id="28" name="직사각형 27">
              <a:extLst>
                <a:ext uri="{FF2B5EF4-FFF2-40B4-BE49-F238E27FC236}">
                  <a16:creationId xmlns:a16="http://schemas.microsoft.com/office/drawing/2014/main" id="{EA80A4B2-F2C2-4496-BCEF-E12946709056}"/>
                </a:ext>
              </a:extLst>
            </p:cNvPr>
            <p:cNvSpPr/>
            <p:nvPr userDrawn="1"/>
          </p:nvSpPr>
          <p:spPr>
            <a:xfrm>
              <a:off x="-19950" y="6808662"/>
              <a:ext cx="9925950" cy="7672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3" name="직사각형 2">
              <a:extLst>
                <a:ext uri="{FF2B5EF4-FFF2-40B4-BE49-F238E27FC236}">
                  <a16:creationId xmlns:a16="http://schemas.microsoft.com/office/drawing/2014/main" id="{1B0EE37F-5693-41DD-85C7-80C39FCC7EB3}"/>
                </a:ext>
              </a:extLst>
            </p:cNvPr>
            <p:cNvSpPr/>
            <p:nvPr userDrawn="1"/>
          </p:nvSpPr>
          <p:spPr>
            <a:xfrm>
              <a:off x="4716397" y="6808662"/>
              <a:ext cx="473206" cy="7672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</p:grpSp>
      <p:sp>
        <p:nvSpPr>
          <p:cNvPr id="48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1537521" y="445353"/>
            <a:ext cx="8103489" cy="28469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0" rIns="9144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sz="2000" b="1" baseline="0">
                <a:ln>
                  <a:solidFill>
                    <a:srgbClr val="F36622">
                      <a:alpha val="0"/>
                    </a:srgb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pPr lvl="0"/>
            <a:r>
              <a:rPr lang="en-US" altLang="ko-KR" dirty="0"/>
              <a:t>Page Title</a:t>
            </a:r>
            <a:endParaRPr lang="ko-KR" altLang="en-US" dirty="0"/>
          </a:p>
        </p:txBody>
      </p:sp>
      <p:sp>
        <p:nvSpPr>
          <p:cNvPr id="58" name="텍스트 개체 틀 16"/>
          <p:cNvSpPr>
            <a:spLocks noGrp="1"/>
          </p:cNvSpPr>
          <p:nvPr>
            <p:ph type="body" sz="quarter" idx="12" hasCustomPrompt="1"/>
          </p:nvPr>
        </p:nvSpPr>
        <p:spPr>
          <a:xfrm>
            <a:off x="5245127" y="938542"/>
            <a:ext cx="1701748" cy="390107"/>
          </a:xfrm>
          <a:prstGeom prst="rect">
            <a:avLst/>
          </a:prstGeom>
        </p:spPr>
        <p:txBody>
          <a:bodyPr wrap="none" anchor="ctr">
            <a:spAutoFit/>
          </a:bodyPr>
          <a:lstStyle>
            <a:lvl1pPr marL="0" indent="0" algn="ctr" latinLnBrk="0">
              <a:lnSpc>
                <a:spcPct val="110000"/>
              </a:lnSpc>
              <a:buNone/>
              <a:defRPr sz="1800" b="1" baseline="0">
                <a:ln>
                  <a:solidFill>
                    <a:srgbClr val="F36622">
                      <a:alpha val="0"/>
                    </a:srgbClr>
                  </a:solidFill>
                </a:ln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pPr lvl="0"/>
            <a:r>
              <a:rPr lang="en-US" altLang="ko-KR" dirty="0"/>
              <a:t>Main Message</a:t>
            </a:r>
            <a:endParaRPr lang="ko-KR" altLang="ko-KR" dirty="0"/>
          </a:p>
        </p:txBody>
      </p:sp>
      <p:pic>
        <p:nvPicPr>
          <p:cNvPr id="50" name="그래픽 3">
            <a:extLst>
              <a:ext uri="{FF2B5EF4-FFF2-40B4-BE49-F238E27FC236}">
                <a16:creationId xmlns:a16="http://schemas.microsoft.com/office/drawing/2014/main" id="{5419C78B-58E7-48A3-ACB3-2789EDECC14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r="40428" b="-26173"/>
          <a:stretch/>
        </p:blipFill>
        <p:spPr>
          <a:xfrm>
            <a:off x="10850004" y="6438900"/>
            <a:ext cx="1047963" cy="302469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A20E7957-3B65-4E2E-9E85-990E094DB10A}"/>
              </a:ext>
            </a:extLst>
          </p:cNvPr>
          <p:cNvSpPr txBox="1"/>
          <p:nvPr userDrawn="1"/>
        </p:nvSpPr>
        <p:spPr>
          <a:xfrm>
            <a:off x="1461966" y="124560"/>
            <a:ext cx="3595856" cy="224677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 marL="0" algn="l" defTabSz="457200" rtl="0" eaLnBrk="1" latinLnBrk="0" hangingPunct="1">
              <a:lnSpc>
                <a:spcPct val="110000"/>
              </a:lnSpc>
            </a:pPr>
            <a:r>
              <a:rPr lang="ko-KR" altLang="en-US" sz="800" kern="120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rPr>
              <a:t>「</a:t>
            </a:r>
            <a:r>
              <a:rPr lang="en-US" altLang="ko-KR" sz="800" kern="120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rPr>
              <a:t>2023</a:t>
            </a:r>
            <a:r>
              <a:rPr lang="ko-KR" altLang="en-US" sz="800" kern="120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rPr>
              <a:t>년도 마이데이터 종합기반 조성사업」 의료재활 마이데이터 오퍼레이터 플랫폼</a:t>
            </a:r>
            <a:endParaRPr lang="en-US" altLang="ko-KR" sz="800" kern="120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chemeClr val="tx1">
                  <a:lumMod val="50000"/>
                  <a:lumOff val="50000"/>
                </a:schemeClr>
              </a:solidFill>
              <a:latin typeface="나눔바른고딕" panose="020B0603020101020101" pitchFamily="50" charset="-127"/>
              <a:ea typeface="나눔바른고딕" panose="020B0603020101020101" pitchFamily="50" charset="-127"/>
              <a:cs typeface="+mn-cs"/>
            </a:endParaRPr>
          </a:p>
        </p:txBody>
      </p:sp>
      <p:grpSp>
        <p:nvGrpSpPr>
          <p:cNvPr id="22" name="그룹 21">
            <a:extLst>
              <a:ext uri="{FF2B5EF4-FFF2-40B4-BE49-F238E27FC236}">
                <a16:creationId xmlns:a16="http://schemas.microsoft.com/office/drawing/2014/main" id="{17717539-9680-4B3C-B9BF-C9B01115DF5C}"/>
              </a:ext>
            </a:extLst>
          </p:cNvPr>
          <p:cNvGrpSpPr/>
          <p:nvPr userDrawn="1"/>
        </p:nvGrpSpPr>
        <p:grpSpPr>
          <a:xfrm>
            <a:off x="423986" y="0"/>
            <a:ext cx="1000114" cy="876252"/>
            <a:chOff x="423986" y="0"/>
            <a:chExt cx="1000114" cy="876252"/>
          </a:xfrm>
        </p:grpSpPr>
        <p:sp>
          <p:nvSpPr>
            <p:cNvPr id="23" name="직각 삼각형 22">
              <a:extLst>
                <a:ext uri="{FF2B5EF4-FFF2-40B4-BE49-F238E27FC236}">
                  <a16:creationId xmlns:a16="http://schemas.microsoft.com/office/drawing/2014/main" id="{4FA0D0E9-48E2-4A9C-A949-F22158D96C16}"/>
                </a:ext>
              </a:extLst>
            </p:cNvPr>
            <p:cNvSpPr/>
            <p:nvPr userDrawn="1"/>
          </p:nvSpPr>
          <p:spPr>
            <a:xfrm flipV="1">
              <a:off x="1351059" y="314365"/>
              <a:ext cx="73041" cy="45719"/>
            </a:xfrm>
            <a:prstGeom prst="rtTriangle">
              <a:avLst/>
            </a:prstGeom>
            <a:solidFill>
              <a:srgbClr val="677E9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24" name="사각형: 둥근 한쪽 모서리 14">
              <a:extLst>
                <a:ext uri="{FF2B5EF4-FFF2-40B4-BE49-F238E27FC236}">
                  <a16:creationId xmlns:a16="http://schemas.microsoft.com/office/drawing/2014/main" id="{1A25E45A-DCD1-4AB2-BF55-C99AFCB7B4A2}"/>
                </a:ext>
              </a:extLst>
            </p:cNvPr>
            <p:cNvSpPr/>
            <p:nvPr userDrawn="1"/>
          </p:nvSpPr>
          <p:spPr>
            <a:xfrm>
              <a:off x="423986" y="0"/>
              <a:ext cx="927468" cy="876252"/>
            </a:xfrm>
            <a:prstGeom prst="round1Rect">
              <a:avLst>
                <a:gd name="adj" fmla="val 0"/>
              </a:avLst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ko-KR" altLang="en-US" sz="180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grpSp>
          <p:nvGrpSpPr>
            <p:cNvPr id="26" name="그룹 25">
              <a:extLst>
                <a:ext uri="{FF2B5EF4-FFF2-40B4-BE49-F238E27FC236}">
                  <a16:creationId xmlns:a16="http://schemas.microsoft.com/office/drawing/2014/main" id="{7ACC023D-CC88-4A5E-B4EE-2C8CB2E541AE}"/>
                </a:ext>
              </a:extLst>
            </p:cNvPr>
            <p:cNvGrpSpPr/>
            <p:nvPr userDrawn="1"/>
          </p:nvGrpSpPr>
          <p:grpSpPr>
            <a:xfrm>
              <a:off x="424182" y="130594"/>
              <a:ext cx="999722" cy="201658"/>
              <a:chOff x="307975" y="143295"/>
              <a:chExt cx="828601" cy="201658"/>
            </a:xfrm>
          </p:grpSpPr>
          <p:sp>
            <p:nvSpPr>
              <p:cNvPr id="31" name="직사각형 30">
                <a:extLst>
                  <a:ext uri="{FF2B5EF4-FFF2-40B4-BE49-F238E27FC236}">
                    <a16:creationId xmlns:a16="http://schemas.microsoft.com/office/drawing/2014/main" id="{E5871A07-29B7-4CA5-BBE7-3303BCD4C89C}"/>
                  </a:ext>
                </a:extLst>
              </p:cNvPr>
              <p:cNvSpPr/>
              <p:nvPr/>
            </p:nvSpPr>
            <p:spPr>
              <a:xfrm>
                <a:off x="307975" y="170585"/>
                <a:ext cx="828601" cy="158025"/>
              </a:xfrm>
              <a:prstGeom prst="rect">
                <a:avLst/>
              </a:prstGeom>
              <a:solidFill>
                <a:srgbClr val="075E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0" algn="ctr"/>
                <a:endParaRPr lang="ko-KR" altLang="en-US" sz="1800">
                  <a:latin typeface="나눔바른고딕" panose="020B0603020101020101" pitchFamily="50" charset="-127"/>
                  <a:ea typeface="나눔바른고딕" panose="020B0603020101020101" pitchFamily="50" charset="-127"/>
                </a:endParaRPr>
              </a:p>
            </p:txBody>
          </p: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84907846-B771-4CF6-B930-6EF1B4425543}"/>
                  </a:ext>
                </a:extLst>
              </p:cNvPr>
              <p:cNvSpPr txBox="1"/>
              <p:nvPr/>
            </p:nvSpPr>
            <p:spPr>
              <a:xfrm>
                <a:off x="469587" y="143295"/>
                <a:ext cx="491855" cy="201658"/>
              </a:xfrm>
              <a:prstGeom prst="rect">
                <a:avLst/>
              </a:prstGeom>
              <a:noFill/>
            </p:spPr>
            <p:txBody>
              <a:bodyPr wrap="none" anchor="ctr">
                <a:spAutoFit/>
              </a:bodyPr>
              <a:lstStyle/>
              <a:p>
                <a:pPr marL="0" algn="dist" defTabSz="457200" rtl="0" eaLnBrk="1" latinLnBrk="0" hangingPunct="1">
                  <a:lnSpc>
                    <a:spcPct val="110000"/>
                  </a:lnSpc>
                </a:pPr>
                <a:r>
                  <a:rPr lang="en-US" altLang="ko-KR" sz="700" b="0" spc="100" baseline="0" dirty="0">
                    <a:ln>
                      <a:solidFill>
                        <a:schemeClr val="accent1"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나눔바른고딕" panose="020B0603020101020101" pitchFamily="50" charset="-127"/>
                    <a:cs typeface="Arial" panose="020B0604020202020204" pitchFamily="34" charset="0"/>
                  </a:rPr>
                  <a:t>Chapter</a:t>
                </a:r>
                <a:endParaRPr lang="en-US" altLang="ko-KR" sz="700" b="0" kern="1200" spc="100" baseline="0" dirty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나눔바른고딕" panose="020B0603020101020101" pitchFamily="50" charset="-127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7495ABE3-4BFB-4E5E-AF53-1204DD9DC846}"/>
                </a:ext>
              </a:extLst>
            </p:cNvPr>
            <p:cNvSpPr txBox="1"/>
            <p:nvPr userDrawn="1"/>
          </p:nvSpPr>
          <p:spPr bwMode="auto">
            <a:xfrm>
              <a:off x="728481" y="283562"/>
              <a:ext cx="318480" cy="379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18000" tIns="18000" rIns="18000" bIns="18000" numCol="1" rtlCol="0" anchor="b" anchorCtr="0" compatLnSpc="1">
              <a:prstTxWarp prst="textNoShape">
                <a:avLst/>
              </a:prstTxWarp>
              <a:spAutoFit/>
            </a:bodyPr>
            <a:lstStyle/>
            <a:p>
              <a:pPr algn="ctr" eaLnBrk="0" latinLnBrk="1" hangingPunct="0">
                <a:lnSpc>
                  <a:spcPct val="110000"/>
                </a:lnSpc>
              </a:pPr>
              <a:r>
                <a:rPr kumimoji="1" lang="en-US" altLang="ko-KR" sz="2200" b="1" u="none" strike="noStrike" kern="0" cap="none" spc="0" normalizeH="0" baseline="0" noProof="0">
                  <a:ln>
                    <a:solidFill>
                      <a:srgbClr val="F36622">
                        <a:alpha val="0"/>
                      </a:srgbClr>
                    </a:solidFill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ea typeface="나눔바른고딕" panose="020B0603020101020101" pitchFamily="50" charset="-127"/>
                  <a:cs typeface="Arial" panose="020B0604020202020204" pitchFamily="34" charset="0"/>
                </a:rPr>
                <a:t>Ⅱ</a:t>
              </a:r>
              <a:endParaRPr kumimoji="1" lang="en-US" altLang="ko-KR" sz="2200" b="1" u="none" strike="noStrike" kern="0" cap="none" spc="0" normalizeH="0" baseline="0" noProof="0" dirty="0">
                <a:ln>
                  <a:solidFill>
                    <a:srgbClr val="F36622">
                      <a:alpha val="0"/>
                    </a:srgbClr>
                  </a:solidFill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나눔바른고딕" panose="020B060302010102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9" name="사각형: 둥근 모서리 28">
              <a:extLst>
                <a:ext uri="{FF2B5EF4-FFF2-40B4-BE49-F238E27FC236}">
                  <a16:creationId xmlns:a16="http://schemas.microsoft.com/office/drawing/2014/main" id="{EA6F8F13-4212-489F-AAB7-790B46617D13}"/>
                </a:ext>
              </a:extLst>
            </p:cNvPr>
            <p:cNvSpPr/>
            <p:nvPr userDrawn="1"/>
          </p:nvSpPr>
          <p:spPr>
            <a:xfrm>
              <a:off x="492809" y="641881"/>
              <a:ext cx="789822" cy="176330"/>
            </a:xfrm>
            <a:prstGeom prst="roundRect">
              <a:avLst>
                <a:gd name="adj" fmla="val 50000"/>
              </a:avLst>
            </a:prstGeom>
            <a:solidFill>
              <a:srgbClr val="14ACA8"/>
            </a:solidFill>
            <a:ln w="317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/>
              <a:r>
                <a:rPr lang="ko-KR" altLang="en-US" sz="800"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서비스</a:t>
              </a:r>
              <a:endParaRPr lang="ko-KR" altLang="en-US" sz="8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44167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>
        <p15:guide id="1" pos="217">
          <p15:clr>
            <a:srgbClr val="FBAE40"/>
          </p15:clr>
        </p15:guide>
        <p15:guide id="2" pos="6023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orient="horz" pos="98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내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5" name="개체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직사각형 55"/>
          <p:cNvSpPr/>
          <p:nvPr userDrawn="1"/>
        </p:nvSpPr>
        <p:spPr>
          <a:xfrm>
            <a:off x="5867412" y="6580001"/>
            <a:ext cx="457176" cy="2308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/>
            <a:fld id="{BC41C62D-11DA-4B3C-95BA-2F1C14FD1816}" type="slidenum">
              <a:rPr kumimoji="0" lang="ko-KR" altLang="en-US" sz="900" b="1" smtClean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pPr algn="ctr"/>
              <a:t>‹#›</a:t>
            </a:fld>
            <a:endParaRPr lang="ko-KR" altLang="en-US" sz="900" b="1" dirty="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solidFill>
                <a:schemeClr val="tx1">
                  <a:lumMod val="50000"/>
                  <a:lumOff val="50000"/>
                </a:schemeClr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grpSp>
        <p:nvGrpSpPr>
          <p:cNvPr id="9" name="그룹 8">
            <a:extLst>
              <a:ext uri="{FF2B5EF4-FFF2-40B4-BE49-F238E27FC236}">
                <a16:creationId xmlns:a16="http://schemas.microsoft.com/office/drawing/2014/main" id="{A8EDF732-DA14-4E1D-AAAC-F80BAE2F455F}"/>
              </a:ext>
            </a:extLst>
          </p:cNvPr>
          <p:cNvGrpSpPr/>
          <p:nvPr userDrawn="1"/>
        </p:nvGrpSpPr>
        <p:grpSpPr>
          <a:xfrm>
            <a:off x="-24554" y="6781278"/>
            <a:ext cx="12216554" cy="76722"/>
            <a:chOff x="-19950" y="6808662"/>
            <a:chExt cx="9925950" cy="76722"/>
          </a:xfrm>
        </p:grpSpPr>
        <p:sp>
          <p:nvSpPr>
            <p:cNvPr id="28" name="직사각형 27">
              <a:extLst>
                <a:ext uri="{FF2B5EF4-FFF2-40B4-BE49-F238E27FC236}">
                  <a16:creationId xmlns:a16="http://schemas.microsoft.com/office/drawing/2014/main" id="{EA80A4B2-F2C2-4496-BCEF-E12946709056}"/>
                </a:ext>
              </a:extLst>
            </p:cNvPr>
            <p:cNvSpPr/>
            <p:nvPr userDrawn="1"/>
          </p:nvSpPr>
          <p:spPr>
            <a:xfrm>
              <a:off x="-19950" y="6808662"/>
              <a:ext cx="9925950" cy="7672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3" name="직사각형 2">
              <a:extLst>
                <a:ext uri="{FF2B5EF4-FFF2-40B4-BE49-F238E27FC236}">
                  <a16:creationId xmlns:a16="http://schemas.microsoft.com/office/drawing/2014/main" id="{1B0EE37F-5693-41DD-85C7-80C39FCC7EB3}"/>
                </a:ext>
              </a:extLst>
            </p:cNvPr>
            <p:cNvSpPr/>
            <p:nvPr userDrawn="1"/>
          </p:nvSpPr>
          <p:spPr>
            <a:xfrm>
              <a:off x="4716397" y="6808662"/>
              <a:ext cx="473206" cy="7672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</p:grpSp>
      <p:sp>
        <p:nvSpPr>
          <p:cNvPr id="48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1537521" y="445353"/>
            <a:ext cx="8103489" cy="28469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0" rIns="9144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sz="2000" b="1" baseline="0">
                <a:ln>
                  <a:solidFill>
                    <a:srgbClr val="F36622">
                      <a:alpha val="0"/>
                    </a:srgb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pPr lvl="0"/>
            <a:r>
              <a:rPr lang="en-US" altLang="ko-KR" dirty="0"/>
              <a:t>Page Title</a:t>
            </a:r>
            <a:endParaRPr lang="ko-KR" altLang="en-US" dirty="0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B063A1EC-C78C-4D4F-A9B9-30F227370469}"/>
              </a:ext>
            </a:extLst>
          </p:cNvPr>
          <p:cNvSpPr txBox="1"/>
          <p:nvPr userDrawn="1"/>
        </p:nvSpPr>
        <p:spPr>
          <a:xfrm>
            <a:off x="1461966" y="124560"/>
            <a:ext cx="3595856" cy="224677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 marL="0" algn="l" defTabSz="457200" rtl="0" eaLnBrk="1" latinLnBrk="0" hangingPunct="1">
              <a:lnSpc>
                <a:spcPct val="110000"/>
              </a:lnSpc>
            </a:pPr>
            <a:r>
              <a:rPr lang="ko-KR" altLang="en-US" sz="800" kern="120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rPr>
              <a:t>「</a:t>
            </a:r>
            <a:r>
              <a:rPr lang="en-US" altLang="ko-KR" sz="800" kern="120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rPr>
              <a:t>2023</a:t>
            </a:r>
            <a:r>
              <a:rPr lang="ko-KR" altLang="en-US" sz="800" kern="120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rPr>
              <a:t>년도 마이데이터 종합기반 조성사업」 의료재활 마이데이터 오퍼레이터 플랫폼</a:t>
            </a:r>
            <a:endParaRPr lang="en-US" altLang="ko-KR" sz="800" kern="120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chemeClr val="tx1">
                  <a:lumMod val="50000"/>
                  <a:lumOff val="50000"/>
                </a:schemeClr>
              </a:solidFill>
              <a:latin typeface="나눔바른고딕" panose="020B0603020101020101" pitchFamily="50" charset="-127"/>
              <a:ea typeface="나눔바른고딕" panose="020B0603020101020101" pitchFamily="50" charset="-127"/>
              <a:cs typeface="+mn-cs"/>
            </a:endParaRPr>
          </a:p>
        </p:txBody>
      </p:sp>
      <p:pic>
        <p:nvPicPr>
          <p:cNvPr id="30" name="그림 29">
            <a:extLst>
              <a:ext uri="{FF2B5EF4-FFF2-40B4-BE49-F238E27FC236}">
                <a16:creationId xmlns:a16="http://schemas.microsoft.com/office/drawing/2014/main" id="{43D520B5-B26F-46DB-967E-74396FC030D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863" y="866203"/>
            <a:ext cx="12192000" cy="213359"/>
          </a:xfrm>
          <a:prstGeom prst="rect">
            <a:avLst/>
          </a:prstGeom>
        </p:spPr>
      </p:pic>
      <p:pic>
        <p:nvPicPr>
          <p:cNvPr id="19" name="그래픽 3">
            <a:extLst>
              <a:ext uri="{FF2B5EF4-FFF2-40B4-BE49-F238E27FC236}">
                <a16:creationId xmlns:a16="http://schemas.microsoft.com/office/drawing/2014/main" id="{5453A56D-9B73-4104-97F0-4BAA23918C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r="40428" b="-26173"/>
          <a:stretch/>
        </p:blipFill>
        <p:spPr>
          <a:xfrm>
            <a:off x="10850004" y="6438900"/>
            <a:ext cx="1047963" cy="302469"/>
          </a:xfrm>
          <a:prstGeom prst="rect">
            <a:avLst/>
          </a:prstGeom>
        </p:spPr>
      </p:pic>
      <p:grpSp>
        <p:nvGrpSpPr>
          <p:cNvPr id="18" name="그룹 17">
            <a:extLst>
              <a:ext uri="{FF2B5EF4-FFF2-40B4-BE49-F238E27FC236}">
                <a16:creationId xmlns:a16="http://schemas.microsoft.com/office/drawing/2014/main" id="{EB7684A2-CF84-434B-A065-B2E9DFAB659A}"/>
              </a:ext>
            </a:extLst>
          </p:cNvPr>
          <p:cNvGrpSpPr/>
          <p:nvPr userDrawn="1"/>
        </p:nvGrpSpPr>
        <p:grpSpPr>
          <a:xfrm>
            <a:off x="423986" y="0"/>
            <a:ext cx="1000114" cy="876252"/>
            <a:chOff x="423986" y="0"/>
            <a:chExt cx="1000114" cy="876252"/>
          </a:xfrm>
        </p:grpSpPr>
        <p:sp>
          <p:nvSpPr>
            <p:cNvPr id="20" name="직각 삼각형 19">
              <a:extLst>
                <a:ext uri="{FF2B5EF4-FFF2-40B4-BE49-F238E27FC236}">
                  <a16:creationId xmlns:a16="http://schemas.microsoft.com/office/drawing/2014/main" id="{EA389A20-A318-4E82-BB9A-1D585B6D10C1}"/>
                </a:ext>
              </a:extLst>
            </p:cNvPr>
            <p:cNvSpPr/>
            <p:nvPr userDrawn="1"/>
          </p:nvSpPr>
          <p:spPr>
            <a:xfrm flipV="1">
              <a:off x="1351059" y="314365"/>
              <a:ext cx="73041" cy="45719"/>
            </a:xfrm>
            <a:prstGeom prst="rtTriangle">
              <a:avLst/>
            </a:prstGeom>
            <a:solidFill>
              <a:srgbClr val="677E9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21" name="사각형: 둥근 한쪽 모서리 14">
              <a:extLst>
                <a:ext uri="{FF2B5EF4-FFF2-40B4-BE49-F238E27FC236}">
                  <a16:creationId xmlns:a16="http://schemas.microsoft.com/office/drawing/2014/main" id="{1DD31D01-5551-4F20-BBA6-8B57C80EB2A6}"/>
                </a:ext>
              </a:extLst>
            </p:cNvPr>
            <p:cNvSpPr/>
            <p:nvPr userDrawn="1"/>
          </p:nvSpPr>
          <p:spPr>
            <a:xfrm>
              <a:off x="423986" y="0"/>
              <a:ext cx="927468" cy="876252"/>
            </a:xfrm>
            <a:prstGeom prst="round1Rect">
              <a:avLst>
                <a:gd name="adj" fmla="val 0"/>
              </a:avLst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ko-KR" altLang="en-US" sz="180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grpSp>
          <p:nvGrpSpPr>
            <p:cNvPr id="22" name="그룹 21">
              <a:extLst>
                <a:ext uri="{FF2B5EF4-FFF2-40B4-BE49-F238E27FC236}">
                  <a16:creationId xmlns:a16="http://schemas.microsoft.com/office/drawing/2014/main" id="{6C7DE071-3708-40F7-B3FB-2BAFF3F675EA}"/>
                </a:ext>
              </a:extLst>
            </p:cNvPr>
            <p:cNvGrpSpPr/>
            <p:nvPr userDrawn="1"/>
          </p:nvGrpSpPr>
          <p:grpSpPr>
            <a:xfrm>
              <a:off x="424182" y="130594"/>
              <a:ext cx="999722" cy="201658"/>
              <a:chOff x="307975" y="143295"/>
              <a:chExt cx="828601" cy="201658"/>
            </a:xfrm>
          </p:grpSpPr>
          <p:sp>
            <p:nvSpPr>
              <p:cNvPr id="25" name="직사각형 24">
                <a:extLst>
                  <a:ext uri="{FF2B5EF4-FFF2-40B4-BE49-F238E27FC236}">
                    <a16:creationId xmlns:a16="http://schemas.microsoft.com/office/drawing/2014/main" id="{47B242D6-0810-4BE1-B155-795041E21657}"/>
                  </a:ext>
                </a:extLst>
              </p:cNvPr>
              <p:cNvSpPr/>
              <p:nvPr/>
            </p:nvSpPr>
            <p:spPr>
              <a:xfrm>
                <a:off x="307975" y="170585"/>
                <a:ext cx="828601" cy="158025"/>
              </a:xfrm>
              <a:prstGeom prst="rect">
                <a:avLst/>
              </a:prstGeom>
              <a:solidFill>
                <a:srgbClr val="075E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0" algn="ctr"/>
                <a:endParaRPr lang="ko-KR" altLang="en-US" sz="1800">
                  <a:latin typeface="나눔바른고딕" panose="020B0603020101020101" pitchFamily="50" charset="-127"/>
                  <a:ea typeface="나눔바른고딕" panose="020B0603020101020101" pitchFamily="50" charset="-127"/>
                </a:endParaRPr>
              </a:p>
            </p:txBody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4866B16B-8C00-4A95-87F1-F69EDC1783A0}"/>
                  </a:ext>
                </a:extLst>
              </p:cNvPr>
              <p:cNvSpPr txBox="1"/>
              <p:nvPr/>
            </p:nvSpPr>
            <p:spPr>
              <a:xfrm>
                <a:off x="469587" y="143295"/>
                <a:ext cx="491855" cy="201658"/>
              </a:xfrm>
              <a:prstGeom prst="rect">
                <a:avLst/>
              </a:prstGeom>
              <a:noFill/>
            </p:spPr>
            <p:txBody>
              <a:bodyPr wrap="none" anchor="ctr">
                <a:spAutoFit/>
              </a:bodyPr>
              <a:lstStyle/>
              <a:p>
                <a:pPr marL="0" algn="dist" defTabSz="457200" rtl="0" eaLnBrk="1" latinLnBrk="0" hangingPunct="1">
                  <a:lnSpc>
                    <a:spcPct val="110000"/>
                  </a:lnSpc>
                </a:pPr>
                <a:r>
                  <a:rPr lang="en-US" altLang="ko-KR" sz="700" b="0" spc="100" baseline="0" dirty="0">
                    <a:ln>
                      <a:solidFill>
                        <a:schemeClr val="accent1"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나눔바른고딕" panose="020B0603020101020101" pitchFamily="50" charset="-127"/>
                    <a:cs typeface="Arial" panose="020B0604020202020204" pitchFamily="34" charset="0"/>
                  </a:rPr>
                  <a:t>Chapter</a:t>
                </a:r>
                <a:endParaRPr lang="en-US" altLang="ko-KR" sz="700" b="0" kern="1200" spc="100" baseline="0" dirty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나눔바른고딕" panose="020B0603020101020101" pitchFamily="50" charset="-127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CC5FA909-C192-4CD4-9875-768458D0A80C}"/>
                </a:ext>
              </a:extLst>
            </p:cNvPr>
            <p:cNvSpPr txBox="1"/>
            <p:nvPr userDrawn="1"/>
          </p:nvSpPr>
          <p:spPr bwMode="auto">
            <a:xfrm>
              <a:off x="728481" y="283562"/>
              <a:ext cx="318480" cy="379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18000" tIns="18000" rIns="18000" bIns="18000" numCol="1" rtlCol="0" anchor="b" anchorCtr="0" compatLnSpc="1">
              <a:prstTxWarp prst="textNoShape">
                <a:avLst/>
              </a:prstTxWarp>
              <a:spAutoFit/>
            </a:bodyPr>
            <a:lstStyle/>
            <a:p>
              <a:pPr algn="ctr" eaLnBrk="0" latinLnBrk="1" hangingPunct="0">
                <a:lnSpc>
                  <a:spcPct val="110000"/>
                </a:lnSpc>
              </a:pPr>
              <a:r>
                <a:rPr kumimoji="1" lang="en-US" altLang="ko-KR" sz="2200" b="1" u="none" strike="noStrike" kern="0" cap="none" spc="0" normalizeH="0" baseline="0" noProof="0">
                  <a:ln>
                    <a:solidFill>
                      <a:srgbClr val="F36622">
                        <a:alpha val="0"/>
                      </a:srgbClr>
                    </a:solidFill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ea typeface="나눔바른고딕" panose="020B0603020101020101" pitchFamily="50" charset="-127"/>
                  <a:cs typeface="Arial" panose="020B0604020202020204" pitchFamily="34" charset="0"/>
                </a:rPr>
                <a:t>Ⅲ</a:t>
              </a:r>
              <a:endParaRPr kumimoji="1" lang="en-US" altLang="ko-KR" sz="2200" b="1" u="none" strike="noStrike" kern="0" cap="none" spc="0" normalizeH="0" baseline="0" noProof="0" dirty="0">
                <a:ln>
                  <a:solidFill>
                    <a:srgbClr val="F36622">
                      <a:alpha val="0"/>
                    </a:srgbClr>
                  </a:solidFill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나눔바른고딕" panose="020B060302010102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4" name="사각형: 둥근 모서리 23">
              <a:extLst>
                <a:ext uri="{FF2B5EF4-FFF2-40B4-BE49-F238E27FC236}">
                  <a16:creationId xmlns:a16="http://schemas.microsoft.com/office/drawing/2014/main" id="{1907F742-FBAA-42E1-9B74-ABEBF7E381FB}"/>
                </a:ext>
              </a:extLst>
            </p:cNvPr>
            <p:cNvSpPr/>
            <p:nvPr userDrawn="1"/>
          </p:nvSpPr>
          <p:spPr>
            <a:xfrm>
              <a:off x="492809" y="641881"/>
              <a:ext cx="789822" cy="176330"/>
            </a:xfrm>
            <a:prstGeom prst="roundRect">
              <a:avLst>
                <a:gd name="adj" fmla="val 50000"/>
              </a:avLst>
            </a:prstGeom>
            <a:solidFill>
              <a:srgbClr val="14ACA8"/>
            </a:solidFill>
            <a:ln w="317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/>
              <a:r>
                <a:rPr lang="ko-KR" altLang="en-US" sz="800"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이용자앱</a:t>
              </a:r>
              <a:endParaRPr lang="ko-KR" altLang="en-US" sz="8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7281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>
        <p15:guide id="1" pos="217">
          <p15:clr>
            <a:srgbClr val="FBAE40"/>
          </p15:clr>
        </p15:guide>
        <p15:guide id="2" pos="6023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orient="horz" pos="98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내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그룹 52">
            <a:extLst>
              <a:ext uri="{FF2B5EF4-FFF2-40B4-BE49-F238E27FC236}">
                <a16:creationId xmlns:a16="http://schemas.microsoft.com/office/drawing/2014/main" id="{36F83EB8-E6BD-4571-92A6-12D30D419F8C}"/>
              </a:ext>
            </a:extLst>
          </p:cNvPr>
          <p:cNvGrpSpPr/>
          <p:nvPr userDrawn="1"/>
        </p:nvGrpSpPr>
        <p:grpSpPr>
          <a:xfrm>
            <a:off x="0" y="874079"/>
            <a:ext cx="12192000" cy="518908"/>
            <a:chOff x="0" y="749852"/>
            <a:chExt cx="9906000" cy="518908"/>
          </a:xfrm>
        </p:grpSpPr>
        <p:sp>
          <p:nvSpPr>
            <p:cNvPr id="54" name="직사각형 53">
              <a:extLst>
                <a:ext uri="{FF2B5EF4-FFF2-40B4-BE49-F238E27FC236}">
                  <a16:creationId xmlns:a16="http://schemas.microsoft.com/office/drawing/2014/main" id="{305AF673-E26F-4C71-BF68-E4ADD7DDBA5D}"/>
                </a:ext>
              </a:extLst>
            </p:cNvPr>
            <p:cNvSpPr/>
            <p:nvPr userDrawn="1"/>
          </p:nvSpPr>
          <p:spPr bwMode="auto">
            <a:xfrm>
              <a:off x="0" y="749852"/>
              <a:ext cx="9906000" cy="518908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lvl="0" algn="ctr" defTabSz="457200" eaLnBrk="1" latinLnBrk="0" hangingPunct="1"/>
              <a:endParaRPr lang="ko-KR" altLang="en-US" sz="18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55" name="직사각형 54">
              <a:extLst>
                <a:ext uri="{FF2B5EF4-FFF2-40B4-BE49-F238E27FC236}">
                  <a16:creationId xmlns:a16="http://schemas.microsoft.com/office/drawing/2014/main" id="{81FC9AED-A3A6-4422-A412-21464F69D367}"/>
                </a:ext>
              </a:extLst>
            </p:cNvPr>
            <p:cNvSpPr/>
            <p:nvPr userDrawn="1"/>
          </p:nvSpPr>
          <p:spPr>
            <a:xfrm>
              <a:off x="9837688" y="749852"/>
              <a:ext cx="68312" cy="518908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57" name="직사각형 56">
              <a:extLst>
                <a:ext uri="{FF2B5EF4-FFF2-40B4-BE49-F238E27FC236}">
                  <a16:creationId xmlns:a16="http://schemas.microsoft.com/office/drawing/2014/main" id="{4BBC0B70-6304-4E1C-A6C2-B0077ED4FC07}"/>
                </a:ext>
              </a:extLst>
            </p:cNvPr>
            <p:cNvSpPr/>
            <p:nvPr userDrawn="1"/>
          </p:nvSpPr>
          <p:spPr>
            <a:xfrm>
              <a:off x="1" y="749852"/>
              <a:ext cx="68312" cy="518908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</p:grpSp>
      <p:graphicFrame>
        <p:nvGraphicFramePr>
          <p:cNvPr id="5" name="개체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5" name="개체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직사각형 55"/>
          <p:cNvSpPr/>
          <p:nvPr userDrawn="1"/>
        </p:nvSpPr>
        <p:spPr>
          <a:xfrm>
            <a:off x="5867412" y="6580001"/>
            <a:ext cx="457176" cy="2308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/>
            <a:fld id="{BC41C62D-11DA-4B3C-95BA-2F1C14FD1816}" type="slidenum">
              <a:rPr kumimoji="0" lang="ko-KR" altLang="en-US" sz="900" b="1" smtClean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pPr algn="ctr"/>
              <a:t>‹#›</a:t>
            </a:fld>
            <a:endParaRPr lang="ko-KR" altLang="en-US" sz="900" b="1" dirty="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solidFill>
                <a:schemeClr val="tx1">
                  <a:lumMod val="50000"/>
                  <a:lumOff val="50000"/>
                </a:schemeClr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grpSp>
        <p:nvGrpSpPr>
          <p:cNvPr id="9" name="그룹 8">
            <a:extLst>
              <a:ext uri="{FF2B5EF4-FFF2-40B4-BE49-F238E27FC236}">
                <a16:creationId xmlns:a16="http://schemas.microsoft.com/office/drawing/2014/main" id="{A8EDF732-DA14-4E1D-AAAC-F80BAE2F455F}"/>
              </a:ext>
            </a:extLst>
          </p:cNvPr>
          <p:cNvGrpSpPr/>
          <p:nvPr userDrawn="1"/>
        </p:nvGrpSpPr>
        <p:grpSpPr>
          <a:xfrm>
            <a:off x="-24554" y="6781278"/>
            <a:ext cx="12216554" cy="76722"/>
            <a:chOff x="-19950" y="6808662"/>
            <a:chExt cx="9925950" cy="76722"/>
          </a:xfrm>
        </p:grpSpPr>
        <p:sp>
          <p:nvSpPr>
            <p:cNvPr id="28" name="직사각형 27">
              <a:extLst>
                <a:ext uri="{FF2B5EF4-FFF2-40B4-BE49-F238E27FC236}">
                  <a16:creationId xmlns:a16="http://schemas.microsoft.com/office/drawing/2014/main" id="{EA80A4B2-F2C2-4496-BCEF-E12946709056}"/>
                </a:ext>
              </a:extLst>
            </p:cNvPr>
            <p:cNvSpPr/>
            <p:nvPr userDrawn="1"/>
          </p:nvSpPr>
          <p:spPr>
            <a:xfrm>
              <a:off x="-19950" y="6808662"/>
              <a:ext cx="9925950" cy="7672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3" name="직사각형 2">
              <a:extLst>
                <a:ext uri="{FF2B5EF4-FFF2-40B4-BE49-F238E27FC236}">
                  <a16:creationId xmlns:a16="http://schemas.microsoft.com/office/drawing/2014/main" id="{1B0EE37F-5693-41DD-85C7-80C39FCC7EB3}"/>
                </a:ext>
              </a:extLst>
            </p:cNvPr>
            <p:cNvSpPr/>
            <p:nvPr userDrawn="1"/>
          </p:nvSpPr>
          <p:spPr>
            <a:xfrm>
              <a:off x="4716397" y="6808662"/>
              <a:ext cx="473206" cy="7672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</p:grpSp>
      <p:sp>
        <p:nvSpPr>
          <p:cNvPr id="48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1537521" y="445353"/>
            <a:ext cx="8103489" cy="28469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0" rIns="9144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sz="2000" b="1" baseline="0">
                <a:ln>
                  <a:solidFill>
                    <a:srgbClr val="F36622">
                      <a:alpha val="0"/>
                    </a:srgb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pPr lvl="0"/>
            <a:r>
              <a:rPr lang="en-US" altLang="ko-KR" dirty="0"/>
              <a:t>Page Title</a:t>
            </a:r>
            <a:endParaRPr lang="ko-KR" altLang="en-US" dirty="0"/>
          </a:p>
        </p:txBody>
      </p:sp>
      <p:sp>
        <p:nvSpPr>
          <p:cNvPr id="58" name="텍스트 개체 틀 16"/>
          <p:cNvSpPr>
            <a:spLocks noGrp="1"/>
          </p:cNvSpPr>
          <p:nvPr>
            <p:ph type="body" sz="quarter" idx="12" hasCustomPrompt="1"/>
          </p:nvPr>
        </p:nvSpPr>
        <p:spPr>
          <a:xfrm>
            <a:off x="5245127" y="938542"/>
            <a:ext cx="1701748" cy="390107"/>
          </a:xfrm>
          <a:prstGeom prst="rect">
            <a:avLst/>
          </a:prstGeom>
        </p:spPr>
        <p:txBody>
          <a:bodyPr wrap="none" anchor="ctr">
            <a:spAutoFit/>
          </a:bodyPr>
          <a:lstStyle>
            <a:lvl1pPr marL="0" indent="0" algn="ctr" latinLnBrk="0">
              <a:lnSpc>
                <a:spcPct val="110000"/>
              </a:lnSpc>
              <a:buNone/>
              <a:defRPr sz="1800" b="1" baseline="0">
                <a:ln>
                  <a:solidFill>
                    <a:srgbClr val="F36622">
                      <a:alpha val="0"/>
                    </a:srgbClr>
                  </a:solidFill>
                </a:ln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pPr lvl="0"/>
            <a:r>
              <a:rPr lang="en-US" altLang="ko-KR" dirty="0"/>
              <a:t>Main Message</a:t>
            </a:r>
            <a:endParaRPr lang="ko-KR" altLang="ko-KR" dirty="0"/>
          </a:p>
        </p:txBody>
      </p:sp>
      <p:pic>
        <p:nvPicPr>
          <p:cNvPr id="50" name="그래픽 3">
            <a:extLst>
              <a:ext uri="{FF2B5EF4-FFF2-40B4-BE49-F238E27FC236}">
                <a16:creationId xmlns:a16="http://schemas.microsoft.com/office/drawing/2014/main" id="{5419C78B-58E7-48A3-ACB3-2789EDECC14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r="40428" b="-26173"/>
          <a:stretch/>
        </p:blipFill>
        <p:spPr>
          <a:xfrm>
            <a:off x="10850004" y="6438900"/>
            <a:ext cx="1047963" cy="302469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A20E7957-3B65-4E2E-9E85-990E094DB10A}"/>
              </a:ext>
            </a:extLst>
          </p:cNvPr>
          <p:cNvSpPr txBox="1"/>
          <p:nvPr userDrawn="1"/>
        </p:nvSpPr>
        <p:spPr>
          <a:xfrm>
            <a:off x="1461966" y="124560"/>
            <a:ext cx="3595856" cy="224677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 marL="0" algn="l" defTabSz="457200" rtl="0" eaLnBrk="1" latinLnBrk="0" hangingPunct="1">
              <a:lnSpc>
                <a:spcPct val="110000"/>
              </a:lnSpc>
            </a:pPr>
            <a:r>
              <a:rPr lang="ko-KR" altLang="en-US" sz="800" kern="120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rPr>
              <a:t>「</a:t>
            </a:r>
            <a:r>
              <a:rPr lang="en-US" altLang="ko-KR" sz="800" kern="120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rPr>
              <a:t>2023</a:t>
            </a:r>
            <a:r>
              <a:rPr lang="ko-KR" altLang="en-US" sz="800" kern="120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rPr>
              <a:t>년도 마이데이터 종합기반 조성사업」 의료재활 마이데이터 오퍼레이터 플랫폼</a:t>
            </a:r>
            <a:endParaRPr lang="en-US" altLang="ko-KR" sz="800" kern="120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chemeClr val="tx1">
                  <a:lumMod val="50000"/>
                  <a:lumOff val="50000"/>
                </a:schemeClr>
              </a:solidFill>
              <a:latin typeface="나눔바른고딕" panose="020B0603020101020101" pitchFamily="50" charset="-127"/>
              <a:ea typeface="나눔바른고딕" panose="020B0603020101020101" pitchFamily="50" charset="-127"/>
              <a:cs typeface="+mn-cs"/>
            </a:endParaRPr>
          </a:p>
        </p:txBody>
      </p:sp>
      <p:grpSp>
        <p:nvGrpSpPr>
          <p:cNvPr id="22" name="그룹 21">
            <a:extLst>
              <a:ext uri="{FF2B5EF4-FFF2-40B4-BE49-F238E27FC236}">
                <a16:creationId xmlns:a16="http://schemas.microsoft.com/office/drawing/2014/main" id="{C719DD3F-45FE-4783-A27A-68980FC3A061}"/>
              </a:ext>
            </a:extLst>
          </p:cNvPr>
          <p:cNvGrpSpPr/>
          <p:nvPr userDrawn="1"/>
        </p:nvGrpSpPr>
        <p:grpSpPr>
          <a:xfrm>
            <a:off x="423986" y="0"/>
            <a:ext cx="1000114" cy="876252"/>
            <a:chOff x="423986" y="0"/>
            <a:chExt cx="1000114" cy="876252"/>
          </a:xfrm>
        </p:grpSpPr>
        <p:sp>
          <p:nvSpPr>
            <p:cNvPr id="23" name="직각 삼각형 22">
              <a:extLst>
                <a:ext uri="{FF2B5EF4-FFF2-40B4-BE49-F238E27FC236}">
                  <a16:creationId xmlns:a16="http://schemas.microsoft.com/office/drawing/2014/main" id="{6BF79FD2-E342-4B9F-9571-54AE09231A0B}"/>
                </a:ext>
              </a:extLst>
            </p:cNvPr>
            <p:cNvSpPr/>
            <p:nvPr userDrawn="1"/>
          </p:nvSpPr>
          <p:spPr>
            <a:xfrm flipV="1">
              <a:off x="1351059" y="314365"/>
              <a:ext cx="73041" cy="45719"/>
            </a:xfrm>
            <a:prstGeom prst="rtTriangle">
              <a:avLst/>
            </a:prstGeom>
            <a:solidFill>
              <a:srgbClr val="677E9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24" name="사각형: 둥근 한쪽 모서리 14">
              <a:extLst>
                <a:ext uri="{FF2B5EF4-FFF2-40B4-BE49-F238E27FC236}">
                  <a16:creationId xmlns:a16="http://schemas.microsoft.com/office/drawing/2014/main" id="{EBB99B05-88FE-43A4-956D-E2EFB7669DC0}"/>
                </a:ext>
              </a:extLst>
            </p:cNvPr>
            <p:cNvSpPr/>
            <p:nvPr userDrawn="1"/>
          </p:nvSpPr>
          <p:spPr>
            <a:xfrm>
              <a:off x="423986" y="0"/>
              <a:ext cx="927468" cy="876252"/>
            </a:xfrm>
            <a:prstGeom prst="round1Rect">
              <a:avLst>
                <a:gd name="adj" fmla="val 0"/>
              </a:avLst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ko-KR" altLang="en-US" sz="180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grpSp>
          <p:nvGrpSpPr>
            <p:cNvPr id="26" name="그룹 25">
              <a:extLst>
                <a:ext uri="{FF2B5EF4-FFF2-40B4-BE49-F238E27FC236}">
                  <a16:creationId xmlns:a16="http://schemas.microsoft.com/office/drawing/2014/main" id="{B819F425-2087-44BB-AB4E-353F964D248A}"/>
                </a:ext>
              </a:extLst>
            </p:cNvPr>
            <p:cNvGrpSpPr/>
            <p:nvPr userDrawn="1"/>
          </p:nvGrpSpPr>
          <p:grpSpPr>
            <a:xfrm>
              <a:off x="424182" y="130594"/>
              <a:ext cx="999722" cy="201658"/>
              <a:chOff x="307975" y="143295"/>
              <a:chExt cx="828601" cy="201658"/>
            </a:xfrm>
          </p:grpSpPr>
          <p:sp>
            <p:nvSpPr>
              <p:cNvPr id="31" name="직사각형 30">
                <a:extLst>
                  <a:ext uri="{FF2B5EF4-FFF2-40B4-BE49-F238E27FC236}">
                    <a16:creationId xmlns:a16="http://schemas.microsoft.com/office/drawing/2014/main" id="{66B9F9CF-EF46-4074-AC04-9FC684A3A197}"/>
                  </a:ext>
                </a:extLst>
              </p:cNvPr>
              <p:cNvSpPr/>
              <p:nvPr/>
            </p:nvSpPr>
            <p:spPr>
              <a:xfrm>
                <a:off x="307975" y="170585"/>
                <a:ext cx="828601" cy="158025"/>
              </a:xfrm>
              <a:prstGeom prst="rect">
                <a:avLst/>
              </a:prstGeom>
              <a:solidFill>
                <a:srgbClr val="075E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0" algn="ctr"/>
                <a:endParaRPr lang="ko-KR" altLang="en-US" sz="1800">
                  <a:latin typeface="나눔바른고딕" panose="020B0603020101020101" pitchFamily="50" charset="-127"/>
                  <a:ea typeface="나눔바른고딕" panose="020B0603020101020101" pitchFamily="50" charset="-127"/>
                </a:endParaRPr>
              </a:p>
            </p:txBody>
          </p: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E5FBDD84-A0A9-4805-844A-EC2A31BBFC12}"/>
                  </a:ext>
                </a:extLst>
              </p:cNvPr>
              <p:cNvSpPr txBox="1"/>
              <p:nvPr/>
            </p:nvSpPr>
            <p:spPr>
              <a:xfrm>
                <a:off x="469587" y="143295"/>
                <a:ext cx="491855" cy="201658"/>
              </a:xfrm>
              <a:prstGeom prst="rect">
                <a:avLst/>
              </a:prstGeom>
              <a:noFill/>
            </p:spPr>
            <p:txBody>
              <a:bodyPr wrap="none" anchor="ctr">
                <a:spAutoFit/>
              </a:bodyPr>
              <a:lstStyle/>
              <a:p>
                <a:pPr marL="0" algn="dist" defTabSz="457200" rtl="0" eaLnBrk="1" latinLnBrk="0" hangingPunct="1">
                  <a:lnSpc>
                    <a:spcPct val="110000"/>
                  </a:lnSpc>
                </a:pPr>
                <a:r>
                  <a:rPr lang="en-US" altLang="ko-KR" sz="700" b="0" spc="100" baseline="0" dirty="0">
                    <a:ln>
                      <a:solidFill>
                        <a:schemeClr val="accent1"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나눔바른고딕" panose="020B0603020101020101" pitchFamily="50" charset="-127"/>
                    <a:cs typeface="Arial" panose="020B0604020202020204" pitchFamily="34" charset="0"/>
                  </a:rPr>
                  <a:t>Chapter</a:t>
                </a:r>
                <a:endParaRPr lang="en-US" altLang="ko-KR" sz="700" b="0" kern="1200" spc="100" baseline="0" dirty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나눔바른고딕" panose="020B0603020101020101" pitchFamily="50" charset="-127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38CDC083-75E6-47F4-A7E6-2EF1D04E96A4}"/>
                </a:ext>
              </a:extLst>
            </p:cNvPr>
            <p:cNvSpPr txBox="1"/>
            <p:nvPr userDrawn="1"/>
          </p:nvSpPr>
          <p:spPr bwMode="auto">
            <a:xfrm>
              <a:off x="728481" y="283562"/>
              <a:ext cx="318480" cy="379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18000" tIns="18000" rIns="18000" bIns="18000" numCol="1" rtlCol="0" anchor="b" anchorCtr="0" compatLnSpc="1">
              <a:prstTxWarp prst="textNoShape">
                <a:avLst/>
              </a:prstTxWarp>
              <a:spAutoFit/>
            </a:bodyPr>
            <a:lstStyle/>
            <a:p>
              <a:pPr algn="ctr" eaLnBrk="0" latinLnBrk="1" hangingPunct="0">
                <a:lnSpc>
                  <a:spcPct val="110000"/>
                </a:lnSpc>
              </a:pPr>
              <a:r>
                <a:rPr kumimoji="1" lang="en-US" altLang="ko-KR" sz="2200" b="1" u="none" strike="noStrike" kern="0" cap="none" spc="0" normalizeH="0" baseline="0" noProof="0">
                  <a:ln>
                    <a:solidFill>
                      <a:srgbClr val="F36622">
                        <a:alpha val="0"/>
                      </a:srgbClr>
                    </a:solidFill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ea typeface="나눔바른고딕" panose="020B0603020101020101" pitchFamily="50" charset="-127"/>
                  <a:cs typeface="Arial" panose="020B0604020202020204" pitchFamily="34" charset="0"/>
                </a:rPr>
                <a:t>Ⅲ</a:t>
              </a:r>
              <a:endParaRPr kumimoji="1" lang="en-US" altLang="ko-KR" sz="2200" b="1" u="none" strike="noStrike" kern="0" cap="none" spc="0" normalizeH="0" baseline="0" noProof="0" dirty="0">
                <a:ln>
                  <a:solidFill>
                    <a:srgbClr val="F36622">
                      <a:alpha val="0"/>
                    </a:srgbClr>
                  </a:solidFill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나눔바른고딕" panose="020B060302010102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9" name="사각형: 둥근 모서리 28">
              <a:extLst>
                <a:ext uri="{FF2B5EF4-FFF2-40B4-BE49-F238E27FC236}">
                  <a16:creationId xmlns:a16="http://schemas.microsoft.com/office/drawing/2014/main" id="{721DF76D-BAA9-4ACE-BA1E-AF9D783C0D2A}"/>
                </a:ext>
              </a:extLst>
            </p:cNvPr>
            <p:cNvSpPr/>
            <p:nvPr userDrawn="1"/>
          </p:nvSpPr>
          <p:spPr>
            <a:xfrm>
              <a:off x="492809" y="641881"/>
              <a:ext cx="789822" cy="176330"/>
            </a:xfrm>
            <a:prstGeom prst="roundRect">
              <a:avLst>
                <a:gd name="adj" fmla="val 50000"/>
              </a:avLst>
            </a:prstGeom>
            <a:solidFill>
              <a:srgbClr val="14ACA8"/>
            </a:solidFill>
            <a:ln w="317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/>
              <a:r>
                <a:rPr lang="ko-KR" altLang="en-US" sz="800"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이용자앱</a:t>
              </a:r>
              <a:endParaRPr lang="ko-KR" altLang="en-US" sz="8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66801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>
        <p15:guide id="1" pos="217">
          <p15:clr>
            <a:srgbClr val="FBAE40"/>
          </p15:clr>
        </p15:guide>
        <p15:guide id="2" pos="6023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orient="horz" pos="98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내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5" name="개체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직사각형 55"/>
          <p:cNvSpPr/>
          <p:nvPr userDrawn="1"/>
        </p:nvSpPr>
        <p:spPr>
          <a:xfrm>
            <a:off x="5867412" y="6580001"/>
            <a:ext cx="457176" cy="2308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/>
            <a:fld id="{BC41C62D-11DA-4B3C-95BA-2F1C14FD1816}" type="slidenum">
              <a:rPr kumimoji="0" lang="ko-KR" altLang="en-US" sz="900" b="1" smtClean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pPr algn="ctr"/>
              <a:t>‹#›</a:t>
            </a:fld>
            <a:endParaRPr lang="ko-KR" altLang="en-US" sz="900" b="1" dirty="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solidFill>
                <a:schemeClr val="tx1">
                  <a:lumMod val="50000"/>
                  <a:lumOff val="50000"/>
                </a:schemeClr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grpSp>
        <p:nvGrpSpPr>
          <p:cNvPr id="9" name="그룹 8">
            <a:extLst>
              <a:ext uri="{FF2B5EF4-FFF2-40B4-BE49-F238E27FC236}">
                <a16:creationId xmlns:a16="http://schemas.microsoft.com/office/drawing/2014/main" id="{A8EDF732-DA14-4E1D-AAAC-F80BAE2F455F}"/>
              </a:ext>
            </a:extLst>
          </p:cNvPr>
          <p:cNvGrpSpPr/>
          <p:nvPr userDrawn="1"/>
        </p:nvGrpSpPr>
        <p:grpSpPr>
          <a:xfrm>
            <a:off x="-24554" y="6781278"/>
            <a:ext cx="12216554" cy="76722"/>
            <a:chOff x="-19950" y="6808662"/>
            <a:chExt cx="9925950" cy="76722"/>
          </a:xfrm>
        </p:grpSpPr>
        <p:sp>
          <p:nvSpPr>
            <p:cNvPr id="28" name="직사각형 27">
              <a:extLst>
                <a:ext uri="{FF2B5EF4-FFF2-40B4-BE49-F238E27FC236}">
                  <a16:creationId xmlns:a16="http://schemas.microsoft.com/office/drawing/2014/main" id="{EA80A4B2-F2C2-4496-BCEF-E12946709056}"/>
                </a:ext>
              </a:extLst>
            </p:cNvPr>
            <p:cNvSpPr/>
            <p:nvPr userDrawn="1"/>
          </p:nvSpPr>
          <p:spPr>
            <a:xfrm>
              <a:off x="-19950" y="6808662"/>
              <a:ext cx="9925950" cy="7672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3" name="직사각형 2">
              <a:extLst>
                <a:ext uri="{FF2B5EF4-FFF2-40B4-BE49-F238E27FC236}">
                  <a16:creationId xmlns:a16="http://schemas.microsoft.com/office/drawing/2014/main" id="{1B0EE37F-5693-41DD-85C7-80C39FCC7EB3}"/>
                </a:ext>
              </a:extLst>
            </p:cNvPr>
            <p:cNvSpPr/>
            <p:nvPr userDrawn="1"/>
          </p:nvSpPr>
          <p:spPr>
            <a:xfrm>
              <a:off x="4716397" y="6808662"/>
              <a:ext cx="473206" cy="7672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</p:grpSp>
      <p:sp>
        <p:nvSpPr>
          <p:cNvPr id="48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1537521" y="445353"/>
            <a:ext cx="8103489" cy="28469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0" rIns="9144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sz="2000" b="1" baseline="0">
                <a:ln>
                  <a:solidFill>
                    <a:srgbClr val="F36622">
                      <a:alpha val="0"/>
                    </a:srgb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pPr lvl="0"/>
            <a:r>
              <a:rPr lang="en-US" altLang="ko-KR" dirty="0"/>
              <a:t>Page Title</a:t>
            </a:r>
            <a:endParaRPr lang="ko-KR" altLang="en-US" dirty="0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B063A1EC-C78C-4D4F-A9B9-30F227370469}"/>
              </a:ext>
            </a:extLst>
          </p:cNvPr>
          <p:cNvSpPr txBox="1"/>
          <p:nvPr userDrawn="1"/>
        </p:nvSpPr>
        <p:spPr>
          <a:xfrm>
            <a:off x="1461966" y="124560"/>
            <a:ext cx="3595856" cy="224677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 marL="0" algn="l" defTabSz="457200" rtl="0" eaLnBrk="1" latinLnBrk="0" hangingPunct="1">
              <a:lnSpc>
                <a:spcPct val="110000"/>
              </a:lnSpc>
            </a:pPr>
            <a:r>
              <a:rPr lang="ko-KR" altLang="en-US" sz="800" kern="120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rPr>
              <a:t>「</a:t>
            </a:r>
            <a:r>
              <a:rPr lang="en-US" altLang="ko-KR" sz="800" kern="120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rPr>
              <a:t>2023</a:t>
            </a:r>
            <a:r>
              <a:rPr lang="ko-KR" altLang="en-US" sz="800" kern="120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rPr>
              <a:t>년도 마이데이터 종합기반 조성사업」 의료재활 마이데이터 오퍼레이터 플랫폼</a:t>
            </a:r>
            <a:endParaRPr lang="en-US" altLang="ko-KR" sz="800" kern="120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chemeClr val="tx1">
                  <a:lumMod val="50000"/>
                  <a:lumOff val="50000"/>
                </a:schemeClr>
              </a:solidFill>
              <a:latin typeface="나눔바른고딕" panose="020B0603020101020101" pitchFamily="50" charset="-127"/>
              <a:ea typeface="나눔바른고딕" panose="020B0603020101020101" pitchFamily="50" charset="-127"/>
              <a:cs typeface="+mn-cs"/>
            </a:endParaRPr>
          </a:p>
        </p:txBody>
      </p:sp>
      <p:pic>
        <p:nvPicPr>
          <p:cNvPr id="30" name="그림 29">
            <a:extLst>
              <a:ext uri="{FF2B5EF4-FFF2-40B4-BE49-F238E27FC236}">
                <a16:creationId xmlns:a16="http://schemas.microsoft.com/office/drawing/2014/main" id="{43D520B5-B26F-46DB-967E-74396FC030D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863" y="866203"/>
            <a:ext cx="12192000" cy="213359"/>
          </a:xfrm>
          <a:prstGeom prst="rect">
            <a:avLst/>
          </a:prstGeom>
        </p:spPr>
      </p:pic>
      <p:pic>
        <p:nvPicPr>
          <p:cNvPr id="19" name="그래픽 3">
            <a:extLst>
              <a:ext uri="{FF2B5EF4-FFF2-40B4-BE49-F238E27FC236}">
                <a16:creationId xmlns:a16="http://schemas.microsoft.com/office/drawing/2014/main" id="{5453A56D-9B73-4104-97F0-4BAA23918C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r="40428" b="-26173"/>
          <a:stretch/>
        </p:blipFill>
        <p:spPr>
          <a:xfrm>
            <a:off x="10850004" y="6438900"/>
            <a:ext cx="1047963" cy="302469"/>
          </a:xfrm>
          <a:prstGeom prst="rect">
            <a:avLst/>
          </a:prstGeom>
        </p:spPr>
      </p:pic>
      <p:grpSp>
        <p:nvGrpSpPr>
          <p:cNvPr id="18" name="그룹 17">
            <a:extLst>
              <a:ext uri="{FF2B5EF4-FFF2-40B4-BE49-F238E27FC236}">
                <a16:creationId xmlns:a16="http://schemas.microsoft.com/office/drawing/2014/main" id="{6B85277F-F8CF-4538-9B27-E5C027C5720A}"/>
              </a:ext>
            </a:extLst>
          </p:cNvPr>
          <p:cNvGrpSpPr/>
          <p:nvPr userDrawn="1"/>
        </p:nvGrpSpPr>
        <p:grpSpPr>
          <a:xfrm>
            <a:off x="423986" y="0"/>
            <a:ext cx="1000114" cy="876252"/>
            <a:chOff x="423986" y="0"/>
            <a:chExt cx="1000114" cy="876252"/>
          </a:xfrm>
        </p:grpSpPr>
        <p:sp>
          <p:nvSpPr>
            <p:cNvPr id="20" name="직각 삼각형 19">
              <a:extLst>
                <a:ext uri="{FF2B5EF4-FFF2-40B4-BE49-F238E27FC236}">
                  <a16:creationId xmlns:a16="http://schemas.microsoft.com/office/drawing/2014/main" id="{B61AC129-0B56-46F3-8F26-874DDBE8E3C4}"/>
                </a:ext>
              </a:extLst>
            </p:cNvPr>
            <p:cNvSpPr/>
            <p:nvPr userDrawn="1"/>
          </p:nvSpPr>
          <p:spPr>
            <a:xfrm flipV="1">
              <a:off x="1351059" y="314365"/>
              <a:ext cx="73041" cy="45719"/>
            </a:xfrm>
            <a:prstGeom prst="rtTriangle">
              <a:avLst/>
            </a:prstGeom>
            <a:solidFill>
              <a:srgbClr val="677E9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21" name="사각형: 둥근 한쪽 모서리 14">
              <a:extLst>
                <a:ext uri="{FF2B5EF4-FFF2-40B4-BE49-F238E27FC236}">
                  <a16:creationId xmlns:a16="http://schemas.microsoft.com/office/drawing/2014/main" id="{706404A9-FB74-495A-8C67-85AF3661897E}"/>
                </a:ext>
              </a:extLst>
            </p:cNvPr>
            <p:cNvSpPr/>
            <p:nvPr userDrawn="1"/>
          </p:nvSpPr>
          <p:spPr>
            <a:xfrm>
              <a:off x="423986" y="0"/>
              <a:ext cx="927468" cy="876252"/>
            </a:xfrm>
            <a:prstGeom prst="round1Rect">
              <a:avLst>
                <a:gd name="adj" fmla="val 0"/>
              </a:avLst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ko-KR" altLang="en-US" sz="180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grpSp>
          <p:nvGrpSpPr>
            <p:cNvPr id="22" name="그룹 21">
              <a:extLst>
                <a:ext uri="{FF2B5EF4-FFF2-40B4-BE49-F238E27FC236}">
                  <a16:creationId xmlns:a16="http://schemas.microsoft.com/office/drawing/2014/main" id="{864675DC-BDD7-4F0C-BCCF-5E6D4DE55772}"/>
                </a:ext>
              </a:extLst>
            </p:cNvPr>
            <p:cNvGrpSpPr/>
            <p:nvPr userDrawn="1"/>
          </p:nvGrpSpPr>
          <p:grpSpPr>
            <a:xfrm>
              <a:off x="424182" y="130594"/>
              <a:ext cx="999722" cy="201658"/>
              <a:chOff x="307975" y="143295"/>
              <a:chExt cx="828601" cy="201658"/>
            </a:xfrm>
          </p:grpSpPr>
          <p:sp>
            <p:nvSpPr>
              <p:cNvPr id="25" name="직사각형 24">
                <a:extLst>
                  <a:ext uri="{FF2B5EF4-FFF2-40B4-BE49-F238E27FC236}">
                    <a16:creationId xmlns:a16="http://schemas.microsoft.com/office/drawing/2014/main" id="{D77D7EB7-FA41-480C-92B3-EEAD8B14BE84}"/>
                  </a:ext>
                </a:extLst>
              </p:cNvPr>
              <p:cNvSpPr/>
              <p:nvPr/>
            </p:nvSpPr>
            <p:spPr>
              <a:xfrm>
                <a:off x="307975" y="170585"/>
                <a:ext cx="828601" cy="158025"/>
              </a:xfrm>
              <a:prstGeom prst="rect">
                <a:avLst/>
              </a:prstGeom>
              <a:solidFill>
                <a:srgbClr val="075E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0" algn="ctr"/>
                <a:endParaRPr lang="ko-KR" altLang="en-US" sz="1800">
                  <a:latin typeface="나눔바른고딕" panose="020B0603020101020101" pitchFamily="50" charset="-127"/>
                  <a:ea typeface="나눔바른고딕" panose="020B0603020101020101" pitchFamily="50" charset="-127"/>
                </a:endParaRPr>
              </a:p>
            </p:txBody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D2B96ACE-1478-426C-9253-74E59EA4C6C1}"/>
                  </a:ext>
                </a:extLst>
              </p:cNvPr>
              <p:cNvSpPr txBox="1"/>
              <p:nvPr/>
            </p:nvSpPr>
            <p:spPr>
              <a:xfrm>
                <a:off x="469587" y="143295"/>
                <a:ext cx="491855" cy="201658"/>
              </a:xfrm>
              <a:prstGeom prst="rect">
                <a:avLst/>
              </a:prstGeom>
              <a:noFill/>
            </p:spPr>
            <p:txBody>
              <a:bodyPr wrap="none" anchor="ctr">
                <a:spAutoFit/>
              </a:bodyPr>
              <a:lstStyle/>
              <a:p>
                <a:pPr marL="0" algn="dist" defTabSz="457200" rtl="0" eaLnBrk="1" latinLnBrk="0" hangingPunct="1">
                  <a:lnSpc>
                    <a:spcPct val="110000"/>
                  </a:lnSpc>
                </a:pPr>
                <a:r>
                  <a:rPr lang="en-US" altLang="ko-KR" sz="700" b="0" spc="100" baseline="0" dirty="0">
                    <a:ln>
                      <a:solidFill>
                        <a:schemeClr val="accent1"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나눔바른고딕" panose="020B0603020101020101" pitchFamily="50" charset="-127"/>
                    <a:cs typeface="Arial" panose="020B0604020202020204" pitchFamily="34" charset="0"/>
                  </a:rPr>
                  <a:t>Chapter</a:t>
                </a:r>
                <a:endParaRPr lang="en-US" altLang="ko-KR" sz="700" b="0" kern="1200" spc="100" baseline="0" dirty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나눔바른고딕" panose="020B0603020101020101" pitchFamily="50" charset="-127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E84C4944-047F-40C6-9578-12B9CDEC9AC5}"/>
                </a:ext>
              </a:extLst>
            </p:cNvPr>
            <p:cNvSpPr txBox="1"/>
            <p:nvPr userDrawn="1"/>
          </p:nvSpPr>
          <p:spPr bwMode="auto">
            <a:xfrm>
              <a:off x="728481" y="283562"/>
              <a:ext cx="318480" cy="379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18000" tIns="18000" rIns="18000" bIns="18000" numCol="1" rtlCol="0" anchor="b" anchorCtr="0" compatLnSpc="1">
              <a:prstTxWarp prst="textNoShape">
                <a:avLst/>
              </a:prstTxWarp>
              <a:spAutoFit/>
            </a:bodyPr>
            <a:lstStyle/>
            <a:p>
              <a:pPr algn="ctr" eaLnBrk="0" latinLnBrk="1" hangingPunct="0">
                <a:lnSpc>
                  <a:spcPct val="110000"/>
                </a:lnSpc>
              </a:pPr>
              <a:r>
                <a:rPr kumimoji="1" lang="en-US" altLang="ko-KR" sz="2200" b="1" u="none" strike="noStrike" kern="0" cap="none" spc="0" normalizeH="0" baseline="0" noProof="0">
                  <a:ln>
                    <a:solidFill>
                      <a:srgbClr val="F36622">
                        <a:alpha val="0"/>
                      </a:srgbClr>
                    </a:solidFill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ea typeface="나눔바른고딕" panose="020B0603020101020101" pitchFamily="50" charset="-127"/>
                  <a:cs typeface="Arial" panose="020B0604020202020204" pitchFamily="34" charset="0"/>
                </a:rPr>
                <a:t>Ⅳ</a:t>
              </a:r>
              <a:endParaRPr kumimoji="1" lang="en-US" altLang="ko-KR" sz="2200" b="1" u="none" strike="noStrike" kern="0" cap="none" spc="0" normalizeH="0" baseline="0" noProof="0" dirty="0">
                <a:ln>
                  <a:solidFill>
                    <a:srgbClr val="F36622">
                      <a:alpha val="0"/>
                    </a:srgbClr>
                  </a:solidFill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나눔바른고딕" panose="020B060302010102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4" name="사각형: 둥근 모서리 23">
              <a:extLst>
                <a:ext uri="{FF2B5EF4-FFF2-40B4-BE49-F238E27FC236}">
                  <a16:creationId xmlns:a16="http://schemas.microsoft.com/office/drawing/2014/main" id="{481CF0AA-3704-409B-838E-B114FD37BE2A}"/>
                </a:ext>
              </a:extLst>
            </p:cNvPr>
            <p:cNvSpPr/>
            <p:nvPr userDrawn="1"/>
          </p:nvSpPr>
          <p:spPr>
            <a:xfrm>
              <a:off x="492809" y="641881"/>
              <a:ext cx="789822" cy="176330"/>
            </a:xfrm>
            <a:prstGeom prst="roundRect">
              <a:avLst>
                <a:gd name="adj" fmla="val 50000"/>
              </a:avLst>
            </a:prstGeom>
            <a:solidFill>
              <a:srgbClr val="14ACA8"/>
            </a:solidFill>
            <a:ln w="317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/>
              <a:r>
                <a:rPr lang="ko-KR" altLang="en-US" sz="800"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배달자앱</a:t>
              </a:r>
              <a:endParaRPr lang="ko-KR" altLang="en-US" sz="8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2049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>
        <p15:guide id="1" pos="217">
          <p15:clr>
            <a:srgbClr val="FBAE40"/>
          </p15:clr>
        </p15:guide>
        <p15:guide id="2" pos="6023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orient="horz" pos="98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내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그룹 52">
            <a:extLst>
              <a:ext uri="{FF2B5EF4-FFF2-40B4-BE49-F238E27FC236}">
                <a16:creationId xmlns:a16="http://schemas.microsoft.com/office/drawing/2014/main" id="{36F83EB8-E6BD-4571-92A6-12D30D419F8C}"/>
              </a:ext>
            </a:extLst>
          </p:cNvPr>
          <p:cNvGrpSpPr/>
          <p:nvPr userDrawn="1"/>
        </p:nvGrpSpPr>
        <p:grpSpPr>
          <a:xfrm>
            <a:off x="0" y="874079"/>
            <a:ext cx="12192000" cy="518908"/>
            <a:chOff x="0" y="749852"/>
            <a:chExt cx="9906000" cy="518908"/>
          </a:xfrm>
        </p:grpSpPr>
        <p:sp>
          <p:nvSpPr>
            <p:cNvPr id="54" name="직사각형 53">
              <a:extLst>
                <a:ext uri="{FF2B5EF4-FFF2-40B4-BE49-F238E27FC236}">
                  <a16:creationId xmlns:a16="http://schemas.microsoft.com/office/drawing/2014/main" id="{305AF673-E26F-4C71-BF68-E4ADD7DDBA5D}"/>
                </a:ext>
              </a:extLst>
            </p:cNvPr>
            <p:cNvSpPr/>
            <p:nvPr userDrawn="1"/>
          </p:nvSpPr>
          <p:spPr bwMode="auto">
            <a:xfrm>
              <a:off x="0" y="749852"/>
              <a:ext cx="9906000" cy="518908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lvl="0" algn="ctr" defTabSz="457200" eaLnBrk="1" latinLnBrk="0" hangingPunct="1"/>
              <a:endParaRPr lang="ko-KR" altLang="en-US" sz="18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55" name="직사각형 54">
              <a:extLst>
                <a:ext uri="{FF2B5EF4-FFF2-40B4-BE49-F238E27FC236}">
                  <a16:creationId xmlns:a16="http://schemas.microsoft.com/office/drawing/2014/main" id="{81FC9AED-A3A6-4422-A412-21464F69D367}"/>
                </a:ext>
              </a:extLst>
            </p:cNvPr>
            <p:cNvSpPr/>
            <p:nvPr userDrawn="1"/>
          </p:nvSpPr>
          <p:spPr>
            <a:xfrm>
              <a:off x="9837688" y="749852"/>
              <a:ext cx="68312" cy="518908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57" name="직사각형 56">
              <a:extLst>
                <a:ext uri="{FF2B5EF4-FFF2-40B4-BE49-F238E27FC236}">
                  <a16:creationId xmlns:a16="http://schemas.microsoft.com/office/drawing/2014/main" id="{4BBC0B70-6304-4E1C-A6C2-B0077ED4FC07}"/>
                </a:ext>
              </a:extLst>
            </p:cNvPr>
            <p:cNvSpPr/>
            <p:nvPr userDrawn="1"/>
          </p:nvSpPr>
          <p:spPr>
            <a:xfrm>
              <a:off x="1" y="749852"/>
              <a:ext cx="68312" cy="518908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</p:grpSp>
      <p:graphicFrame>
        <p:nvGraphicFramePr>
          <p:cNvPr id="5" name="개체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5" name="개체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직사각형 55"/>
          <p:cNvSpPr/>
          <p:nvPr userDrawn="1"/>
        </p:nvSpPr>
        <p:spPr>
          <a:xfrm>
            <a:off x="5867412" y="6580001"/>
            <a:ext cx="457176" cy="2308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/>
            <a:fld id="{BC41C62D-11DA-4B3C-95BA-2F1C14FD1816}" type="slidenum">
              <a:rPr kumimoji="0" lang="ko-KR" altLang="en-US" sz="900" b="1" smtClean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pPr algn="ctr"/>
              <a:t>‹#›</a:t>
            </a:fld>
            <a:endParaRPr lang="ko-KR" altLang="en-US" sz="900" b="1" dirty="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solidFill>
                <a:schemeClr val="tx1">
                  <a:lumMod val="50000"/>
                  <a:lumOff val="50000"/>
                </a:schemeClr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grpSp>
        <p:nvGrpSpPr>
          <p:cNvPr id="9" name="그룹 8">
            <a:extLst>
              <a:ext uri="{FF2B5EF4-FFF2-40B4-BE49-F238E27FC236}">
                <a16:creationId xmlns:a16="http://schemas.microsoft.com/office/drawing/2014/main" id="{A8EDF732-DA14-4E1D-AAAC-F80BAE2F455F}"/>
              </a:ext>
            </a:extLst>
          </p:cNvPr>
          <p:cNvGrpSpPr/>
          <p:nvPr userDrawn="1"/>
        </p:nvGrpSpPr>
        <p:grpSpPr>
          <a:xfrm>
            <a:off x="-24554" y="6781278"/>
            <a:ext cx="12216554" cy="76722"/>
            <a:chOff x="-19950" y="6808662"/>
            <a:chExt cx="9925950" cy="76722"/>
          </a:xfrm>
        </p:grpSpPr>
        <p:sp>
          <p:nvSpPr>
            <p:cNvPr id="28" name="직사각형 27">
              <a:extLst>
                <a:ext uri="{FF2B5EF4-FFF2-40B4-BE49-F238E27FC236}">
                  <a16:creationId xmlns:a16="http://schemas.microsoft.com/office/drawing/2014/main" id="{EA80A4B2-F2C2-4496-BCEF-E12946709056}"/>
                </a:ext>
              </a:extLst>
            </p:cNvPr>
            <p:cNvSpPr/>
            <p:nvPr userDrawn="1"/>
          </p:nvSpPr>
          <p:spPr>
            <a:xfrm>
              <a:off x="-19950" y="6808662"/>
              <a:ext cx="9925950" cy="7672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3" name="직사각형 2">
              <a:extLst>
                <a:ext uri="{FF2B5EF4-FFF2-40B4-BE49-F238E27FC236}">
                  <a16:creationId xmlns:a16="http://schemas.microsoft.com/office/drawing/2014/main" id="{1B0EE37F-5693-41DD-85C7-80C39FCC7EB3}"/>
                </a:ext>
              </a:extLst>
            </p:cNvPr>
            <p:cNvSpPr/>
            <p:nvPr userDrawn="1"/>
          </p:nvSpPr>
          <p:spPr>
            <a:xfrm>
              <a:off x="4716397" y="6808662"/>
              <a:ext cx="473206" cy="7672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</p:grpSp>
      <p:sp>
        <p:nvSpPr>
          <p:cNvPr id="48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1537521" y="445353"/>
            <a:ext cx="8103489" cy="28469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0" rIns="9144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sz="2000" b="1" baseline="0">
                <a:ln>
                  <a:solidFill>
                    <a:srgbClr val="F36622">
                      <a:alpha val="0"/>
                    </a:srgb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pPr lvl="0"/>
            <a:r>
              <a:rPr lang="en-US" altLang="ko-KR" dirty="0"/>
              <a:t>Page Title</a:t>
            </a:r>
            <a:endParaRPr lang="ko-KR" altLang="en-US" dirty="0"/>
          </a:p>
        </p:txBody>
      </p:sp>
      <p:sp>
        <p:nvSpPr>
          <p:cNvPr id="58" name="텍스트 개체 틀 16"/>
          <p:cNvSpPr>
            <a:spLocks noGrp="1"/>
          </p:cNvSpPr>
          <p:nvPr>
            <p:ph type="body" sz="quarter" idx="12" hasCustomPrompt="1"/>
          </p:nvPr>
        </p:nvSpPr>
        <p:spPr>
          <a:xfrm>
            <a:off x="5245127" y="938542"/>
            <a:ext cx="1701748" cy="390107"/>
          </a:xfrm>
          <a:prstGeom prst="rect">
            <a:avLst/>
          </a:prstGeom>
        </p:spPr>
        <p:txBody>
          <a:bodyPr wrap="none" anchor="ctr">
            <a:spAutoFit/>
          </a:bodyPr>
          <a:lstStyle>
            <a:lvl1pPr marL="0" indent="0" algn="ctr" latinLnBrk="0">
              <a:lnSpc>
                <a:spcPct val="110000"/>
              </a:lnSpc>
              <a:buNone/>
              <a:defRPr sz="1800" b="1" baseline="0">
                <a:ln>
                  <a:solidFill>
                    <a:srgbClr val="F36622">
                      <a:alpha val="0"/>
                    </a:srgbClr>
                  </a:solidFill>
                </a:ln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pPr lvl="0"/>
            <a:r>
              <a:rPr lang="en-US" altLang="ko-KR" dirty="0"/>
              <a:t>Main Message</a:t>
            </a:r>
            <a:endParaRPr lang="ko-KR" altLang="ko-KR" dirty="0"/>
          </a:p>
        </p:txBody>
      </p:sp>
      <p:pic>
        <p:nvPicPr>
          <p:cNvPr id="50" name="그래픽 3">
            <a:extLst>
              <a:ext uri="{FF2B5EF4-FFF2-40B4-BE49-F238E27FC236}">
                <a16:creationId xmlns:a16="http://schemas.microsoft.com/office/drawing/2014/main" id="{5419C78B-58E7-48A3-ACB3-2789EDECC14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r="40428" b="-26173"/>
          <a:stretch/>
        </p:blipFill>
        <p:spPr>
          <a:xfrm>
            <a:off x="10850004" y="6438900"/>
            <a:ext cx="1047963" cy="302469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A20E7957-3B65-4E2E-9E85-990E094DB10A}"/>
              </a:ext>
            </a:extLst>
          </p:cNvPr>
          <p:cNvSpPr txBox="1"/>
          <p:nvPr userDrawn="1"/>
        </p:nvSpPr>
        <p:spPr>
          <a:xfrm>
            <a:off x="1461966" y="124560"/>
            <a:ext cx="3595856" cy="224677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 marL="0" algn="l" defTabSz="457200" rtl="0" eaLnBrk="1" latinLnBrk="0" hangingPunct="1">
              <a:lnSpc>
                <a:spcPct val="110000"/>
              </a:lnSpc>
            </a:pPr>
            <a:r>
              <a:rPr lang="ko-KR" altLang="en-US" sz="800" kern="120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rPr>
              <a:t>「</a:t>
            </a:r>
            <a:r>
              <a:rPr lang="en-US" altLang="ko-KR" sz="800" kern="120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rPr>
              <a:t>2023</a:t>
            </a:r>
            <a:r>
              <a:rPr lang="ko-KR" altLang="en-US" sz="800" kern="120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rPr>
              <a:t>년도 마이데이터 종합기반 조성사업」 의료재활 마이데이터 오퍼레이터 플랫폼</a:t>
            </a:r>
            <a:endParaRPr lang="en-US" altLang="ko-KR" sz="800" kern="120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chemeClr val="tx1">
                  <a:lumMod val="50000"/>
                  <a:lumOff val="50000"/>
                </a:schemeClr>
              </a:solidFill>
              <a:latin typeface="나눔바른고딕" panose="020B0603020101020101" pitchFamily="50" charset="-127"/>
              <a:ea typeface="나눔바른고딕" panose="020B0603020101020101" pitchFamily="50" charset="-127"/>
              <a:cs typeface="+mn-cs"/>
            </a:endParaRPr>
          </a:p>
        </p:txBody>
      </p:sp>
      <p:grpSp>
        <p:nvGrpSpPr>
          <p:cNvPr id="22" name="그룹 21">
            <a:extLst>
              <a:ext uri="{FF2B5EF4-FFF2-40B4-BE49-F238E27FC236}">
                <a16:creationId xmlns:a16="http://schemas.microsoft.com/office/drawing/2014/main" id="{AA6864C0-542D-48F7-BE15-AB666095F32C}"/>
              </a:ext>
            </a:extLst>
          </p:cNvPr>
          <p:cNvGrpSpPr/>
          <p:nvPr userDrawn="1"/>
        </p:nvGrpSpPr>
        <p:grpSpPr>
          <a:xfrm>
            <a:off x="423986" y="0"/>
            <a:ext cx="1000114" cy="876252"/>
            <a:chOff x="423986" y="0"/>
            <a:chExt cx="1000114" cy="876252"/>
          </a:xfrm>
        </p:grpSpPr>
        <p:sp>
          <p:nvSpPr>
            <p:cNvPr id="23" name="직각 삼각형 22">
              <a:extLst>
                <a:ext uri="{FF2B5EF4-FFF2-40B4-BE49-F238E27FC236}">
                  <a16:creationId xmlns:a16="http://schemas.microsoft.com/office/drawing/2014/main" id="{ECEFA4F8-98E2-46C0-9C9E-449EF773E5FF}"/>
                </a:ext>
              </a:extLst>
            </p:cNvPr>
            <p:cNvSpPr/>
            <p:nvPr userDrawn="1"/>
          </p:nvSpPr>
          <p:spPr>
            <a:xfrm flipV="1">
              <a:off x="1351059" y="314365"/>
              <a:ext cx="73041" cy="45719"/>
            </a:xfrm>
            <a:prstGeom prst="rtTriangle">
              <a:avLst/>
            </a:prstGeom>
            <a:solidFill>
              <a:srgbClr val="677E9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24" name="사각형: 둥근 한쪽 모서리 14">
              <a:extLst>
                <a:ext uri="{FF2B5EF4-FFF2-40B4-BE49-F238E27FC236}">
                  <a16:creationId xmlns:a16="http://schemas.microsoft.com/office/drawing/2014/main" id="{8428056A-B49D-4F4C-AA2A-A91F2E7AC2D1}"/>
                </a:ext>
              </a:extLst>
            </p:cNvPr>
            <p:cNvSpPr/>
            <p:nvPr userDrawn="1"/>
          </p:nvSpPr>
          <p:spPr>
            <a:xfrm>
              <a:off x="423986" y="0"/>
              <a:ext cx="927468" cy="876252"/>
            </a:xfrm>
            <a:prstGeom prst="round1Rect">
              <a:avLst>
                <a:gd name="adj" fmla="val 0"/>
              </a:avLst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ko-KR" altLang="en-US" sz="180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grpSp>
          <p:nvGrpSpPr>
            <p:cNvPr id="26" name="그룹 25">
              <a:extLst>
                <a:ext uri="{FF2B5EF4-FFF2-40B4-BE49-F238E27FC236}">
                  <a16:creationId xmlns:a16="http://schemas.microsoft.com/office/drawing/2014/main" id="{EBF5DC61-6818-4613-B601-15362F2CF14C}"/>
                </a:ext>
              </a:extLst>
            </p:cNvPr>
            <p:cNvGrpSpPr/>
            <p:nvPr userDrawn="1"/>
          </p:nvGrpSpPr>
          <p:grpSpPr>
            <a:xfrm>
              <a:off x="424182" y="130594"/>
              <a:ext cx="999722" cy="201658"/>
              <a:chOff x="307975" y="143295"/>
              <a:chExt cx="828601" cy="201658"/>
            </a:xfrm>
          </p:grpSpPr>
          <p:sp>
            <p:nvSpPr>
              <p:cNvPr id="31" name="직사각형 30">
                <a:extLst>
                  <a:ext uri="{FF2B5EF4-FFF2-40B4-BE49-F238E27FC236}">
                    <a16:creationId xmlns:a16="http://schemas.microsoft.com/office/drawing/2014/main" id="{95F4FC91-01EF-440E-A24E-65B58994E25D}"/>
                  </a:ext>
                </a:extLst>
              </p:cNvPr>
              <p:cNvSpPr/>
              <p:nvPr/>
            </p:nvSpPr>
            <p:spPr>
              <a:xfrm>
                <a:off x="307975" y="170585"/>
                <a:ext cx="828601" cy="158025"/>
              </a:xfrm>
              <a:prstGeom prst="rect">
                <a:avLst/>
              </a:prstGeom>
              <a:solidFill>
                <a:srgbClr val="075E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0" algn="ctr"/>
                <a:endParaRPr lang="ko-KR" altLang="en-US" sz="1800">
                  <a:latin typeface="나눔바른고딕" panose="020B0603020101020101" pitchFamily="50" charset="-127"/>
                  <a:ea typeface="나눔바른고딕" panose="020B0603020101020101" pitchFamily="50" charset="-127"/>
                </a:endParaRPr>
              </a:p>
            </p:txBody>
          </p: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F9C22E73-B509-4D27-AC86-5D0247A545F4}"/>
                  </a:ext>
                </a:extLst>
              </p:cNvPr>
              <p:cNvSpPr txBox="1"/>
              <p:nvPr/>
            </p:nvSpPr>
            <p:spPr>
              <a:xfrm>
                <a:off x="469587" y="143295"/>
                <a:ext cx="491855" cy="201658"/>
              </a:xfrm>
              <a:prstGeom prst="rect">
                <a:avLst/>
              </a:prstGeom>
              <a:noFill/>
            </p:spPr>
            <p:txBody>
              <a:bodyPr wrap="none" anchor="ctr">
                <a:spAutoFit/>
              </a:bodyPr>
              <a:lstStyle/>
              <a:p>
                <a:pPr marL="0" algn="dist" defTabSz="457200" rtl="0" eaLnBrk="1" latinLnBrk="0" hangingPunct="1">
                  <a:lnSpc>
                    <a:spcPct val="110000"/>
                  </a:lnSpc>
                </a:pPr>
                <a:r>
                  <a:rPr lang="en-US" altLang="ko-KR" sz="700" b="0" spc="100" baseline="0" dirty="0">
                    <a:ln>
                      <a:solidFill>
                        <a:schemeClr val="accent1"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나눔바른고딕" panose="020B0603020101020101" pitchFamily="50" charset="-127"/>
                    <a:cs typeface="Arial" panose="020B0604020202020204" pitchFamily="34" charset="0"/>
                  </a:rPr>
                  <a:t>Chapter</a:t>
                </a:r>
                <a:endParaRPr lang="en-US" altLang="ko-KR" sz="700" b="0" kern="1200" spc="100" baseline="0" dirty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나눔바른고딕" panose="020B0603020101020101" pitchFamily="50" charset="-127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290D8546-A36F-4DE3-BE52-5DA9DB43F485}"/>
                </a:ext>
              </a:extLst>
            </p:cNvPr>
            <p:cNvSpPr txBox="1"/>
            <p:nvPr userDrawn="1"/>
          </p:nvSpPr>
          <p:spPr bwMode="auto">
            <a:xfrm>
              <a:off x="728481" y="283562"/>
              <a:ext cx="318480" cy="379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18000" tIns="18000" rIns="18000" bIns="18000" numCol="1" rtlCol="0" anchor="b" anchorCtr="0" compatLnSpc="1">
              <a:prstTxWarp prst="textNoShape">
                <a:avLst/>
              </a:prstTxWarp>
              <a:spAutoFit/>
            </a:bodyPr>
            <a:lstStyle/>
            <a:p>
              <a:pPr algn="ctr" eaLnBrk="0" latinLnBrk="1" hangingPunct="0">
                <a:lnSpc>
                  <a:spcPct val="110000"/>
                </a:lnSpc>
              </a:pPr>
              <a:r>
                <a:rPr kumimoji="1" lang="en-US" altLang="ko-KR" sz="2200" b="1" u="none" strike="noStrike" kern="0" cap="none" spc="0" normalizeH="0" baseline="0" noProof="0">
                  <a:ln>
                    <a:solidFill>
                      <a:srgbClr val="F36622">
                        <a:alpha val="0"/>
                      </a:srgbClr>
                    </a:solidFill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ea typeface="나눔바른고딕" panose="020B0603020101020101" pitchFamily="50" charset="-127"/>
                  <a:cs typeface="Arial" panose="020B0604020202020204" pitchFamily="34" charset="0"/>
                </a:rPr>
                <a:t>Ⅳ</a:t>
              </a:r>
              <a:endParaRPr kumimoji="1" lang="en-US" altLang="ko-KR" sz="2200" b="1" u="none" strike="noStrike" kern="0" cap="none" spc="0" normalizeH="0" baseline="0" noProof="0" dirty="0">
                <a:ln>
                  <a:solidFill>
                    <a:srgbClr val="F36622">
                      <a:alpha val="0"/>
                    </a:srgbClr>
                  </a:solidFill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나눔바른고딕" panose="020B060302010102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9" name="사각형: 둥근 모서리 28">
              <a:extLst>
                <a:ext uri="{FF2B5EF4-FFF2-40B4-BE49-F238E27FC236}">
                  <a16:creationId xmlns:a16="http://schemas.microsoft.com/office/drawing/2014/main" id="{849A118C-D024-4242-AC9C-554FFB8C46AA}"/>
                </a:ext>
              </a:extLst>
            </p:cNvPr>
            <p:cNvSpPr/>
            <p:nvPr userDrawn="1"/>
          </p:nvSpPr>
          <p:spPr>
            <a:xfrm>
              <a:off x="492809" y="641881"/>
              <a:ext cx="789822" cy="176330"/>
            </a:xfrm>
            <a:prstGeom prst="roundRect">
              <a:avLst>
                <a:gd name="adj" fmla="val 50000"/>
              </a:avLst>
            </a:prstGeom>
            <a:solidFill>
              <a:srgbClr val="14ACA8"/>
            </a:solidFill>
            <a:ln w="317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/>
              <a:r>
                <a:rPr lang="ko-KR" altLang="en-US" sz="800"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배달자앱</a:t>
              </a:r>
              <a:endParaRPr lang="ko-KR" altLang="en-US" sz="8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28011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>
        <p15:guide id="1" pos="217">
          <p15:clr>
            <a:srgbClr val="FBAE40"/>
          </p15:clr>
        </p15:guide>
        <p15:guide id="2" pos="6023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orient="horz" pos="98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내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5" name="개체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직사각형 55"/>
          <p:cNvSpPr/>
          <p:nvPr userDrawn="1"/>
        </p:nvSpPr>
        <p:spPr>
          <a:xfrm>
            <a:off x="5867412" y="6580001"/>
            <a:ext cx="457176" cy="2308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/>
            <a:fld id="{BC41C62D-11DA-4B3C-95BA-2F1C14FD1816}" type="slidenum">
              <a:rPr kumimoji="0" lang="ko-KR" altLang="en-US" sz="900" b="1" smtClean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pPr algn="ctr"/>
              <a:t>‹#›</a:t>
            </a:fld>
            <a:endParaRPr lang="ko-KR" altLang="en-US" sz="900" b="1" dirty="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solidFill>
                <a:schemeClr val="tx1">
                  <a:lumMod val="50000"/>
                  <a:lumOff val="50000"/>
                </a:schemeClr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grpSp>
        <p:nvGrpSpPr>
          <p:cNvPr id="9" name="그룹 8">
            <a:extLst>
              <a:ext uri="{FF2B5EF4-FFF2-40B4-BE49-F238E27FC236}">
                <a16:creationId xmlns:a16="http://schemas.microsoft.com/office/drawing/2014/main" id="{A8EDF732-DA14-4E1D-AAAC-F80BAE2F455F}"/>
              </a:ext>
            </a:extLst>
          </p:cNvPr>
          <p:cNvGrpSpPr/>
          <p:nvPr userDrawn="1"/>
        </p:nvGrpSpPr>
        <p:grpSpPr>
          <a:xfrm>
            <a:off x="-24554" y="6781278"/>
            <a:ext cx="12216554" cy="76722"/>
            <a:chOff x="-19950" y="6808662"/>
            <a:chExt cx="9925950" cy="76722"/>
          </a:xfrm>
        </p:grpSpPr>
        <p:sp>
          <p:nvSpPr>
            <p:cNvPr id="28" name="직사각형 27">
              <a:extLst>
                <a:ext uri="{FF2B5EF4-FFF2-40B4-BE49-F238E27FC236}">
                  <a16:creationId xmlns:a16="http://schemas.microsoft.com/office/drawing/2014/main" id="{EA80A4B2-F2C2-4496-BCEF-E12946709056}"/>
                </a:ext>
              </a:extLst>
            </p:cNvPr>
            <p:cNvSpPr/>
            <p:nvPr userDrawn="1"/>
          </p:nvSpPr>
          <p:spPr>
            <a:xfrm>
              <a:off x="-19950" y="6808662"/>
              <a:ext cx="9925950" cy="7672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3" name="직사각형 2">
              <a:extLst>
                <a:ext uri="{FF2B5EF4-FFF2-40B4-BE49-F238E27FC236}">
                  <a16:creationId xmlns:a16="http://schemas.microsoft.com/office/drawing/2014/main" id="{1B0EE37F-5693-41DD-85C7-80C39FCC7EB3}"/>
                </a:ext>
              </a:extLst>
            </p:cNvPr>
            <p:cNvSpPr/>
            <p:nvPr userDrawn="1"/>
          </p:nvSpPr>
          <p:spPr>
            <a:xfrm>
              <a:off x="4716397" y="6808662"/>
              <a:ext cx="473206" cy="7672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</p:grpSp>
      <p:sp>
        <p:nvSpPr>
          <p:cNvPr id="48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1537521" y="445353"/>
            <a:ext cx="8103489" cy="28469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0" rIns="9144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sz="2000" b="1" baseline="0">
                <a:ln>
                  <a:solidFill>
                    <a:srgbClr val="F36622">
                      <a:alpha val="0"/>
                    </a:srgb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pPr lvl="0"/>
            <a:r>
              <a:rPr lang="en-US" altLang="ko-KR" dirty="0"/>
              <a:t>Page Title</a:t>
            </a:r>
            <a:endParaRPr lang="ko-KR" altLang="en-US" dirty="0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B063A1EC-C78C-4D4F-A9B9-30F227370469}"/>
              </a:ext>
            </a:extLst>
          </p:cNvPr>
          <p:cNvSpPr txBox="1"/>
          <p:nvPr userDrawn="1"/>
        </p:nvSpPr>
        <p:spPr>
          <a:xfrm>
            <a:off x="1461966" y="124560"/>
            <a:ext cx="3595856" cy="224677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 marL="0" algn="l" defTabSz="457200" rtl="0" eaLnBrk="1" latinLnBrk="0" hangingPunct="1">
              <a:lnSpc>
                <a:spcPct val="110000"/>
              </a:lnSpc>
            </a:pPr>
            <a:r>
              <a:rPr lang="ko-KR" altLang="en-US" sz="800" kern="120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rPr>
              <a:t>「</a:t>
            </a:r>
            <a:r>
              <a:rPr lang="en-US" altLang="ko-KR" sz="800" kern="120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rPr>
              <a:t>2023</a:t>
            </a:r>
            <a:r>
              <a:rPr lang="ko-KR" altLang="en-US" sz="800" kern="120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rPr>
              <a:t>년도 마이데이터 종합기반 조성사업」 의료재활 마이데이터 오퍼레이터 플랫폼</a:t>
            </a:r>
            <a:endParaRPr lang="en-US" altLang="ko-KR" sz="800" kern="120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chemeClr val="tx1">
                  <a:lumMod val="50000"/>
                  <a:lumOff val="50000"/>
                </a:schemeClr>
              </a:solidFill>
              <a:latin typeface="나눔바른고딕" panose="020B0603020101020101" pitchFamily="50" charset="-127"/>
              <a:ea typeface="나눔바른고딕" panose="020B0603020101020101" pitchFamily="50" charset="-127"/>
              <a:cs typeface="+mn-cs"/>
            </a:endParaRPr>
          </a:p>
        </p:txBody>
      </p:sp>
      <p:pic>
        <p:nvPicPr>
          <p:cNvPr id="30" name="그림 29">
            <a:extLst>
              <a:ext uri="{FF2B5EF4-FFF2-40B4-BE49-F238E27FC236}">
                <a16:creationId xmlns:a16="http://schemas.microsoft.com/office/drawing/2014/main" id="{43D520B5-B26F-46DB-967E-74396FC030D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863" y="866203"/>
            <a:ext cx="12192000" cy="213359"/>
          </a:xfrm>
          <a:prstGeom prst="rect">
            <a:avLst/>
          </a:prstGeom>
        </p:spPr>
      </p:pic>
      <p:pic>
        <p:nvPicPr>
          <p:cNvPr id="19" name="그래픽 3">
            <a:extLst>
              <a:ext uri="{FF2B5EF4-FFF2-40B4-BE49-F238E27FC236}">
                <a16:creationId xmlns:a16="http://schemas.microsoft.com/office/drawing/2014/main" id="{5453A56D-9B73-4104-97F0-4BAA23918C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r="40428" b="-26173"/>
          <a:stretch/>
        </p:blipFill>
        <p:spPr>
          <a:xfrm>
            <a:off x="10850004" y="6438900"/>
            <a:ext cx="1047963" cy="302469"/>
          </a:xfrm>
          <a:prstGeom prst="rect">
            <a:avLst/>
          </a:prstGeom>
        </p:spPr>
      </p:pic>
      <p:grpSp>
        <p:nvGrpSpPr>
          <p:cNvPr id="18" name="그룹 17">
            <a:extLst>
              <a:ext uri="{FF2B5EF4-FFF2-40B4-BE49-F238E27FC236}">
                <a16:creationId xmlns:a16="http://schemas.microsoft.com/office/drawing/2014/main" id="{07FF6EF3-B704-4CE8-BE1C-425C0308CB49}"/>
              </a:ext>
            </a:extLst>
          </p:cNvPr>
          <p:cNvGrpSpPr/>
          <p:nvPr userDrawn="1"/>
        </p:nvGrpSpPr>
        <p:grpSpPr>
          <a:xfrm>
            <a:off x="423986" y="0"/>
            <a:ext cx="1000114" cy="876252"/>
            <a:chOff x="423986" y="0"/>
            <a:chExt cx="1000114" cy="876252"/>
          </a:xfrm>
        </p:grpSpPr>
        <p:sp>
          <p:nvSpPr>
            <p:cNvPr id="20" name="직각 삼각형 19">
              <a:extLst>
                <a:ext uri="{FF2B5EF4-FFF2-40B4-BE49-F238E27FC236}">
                  <a16:creationId xmlns:a16="http://schemas.microsoft.com/office/drawing/2014/main" id="{FF771067-7DEC-4AA5-935E-CC6D3480C26E}"/>
                </a:ext>
              </a:extLst>
            </p:cNvPr>
            <p:cNvSpPr/>
            <p:nvPr userDrawn="1"/>
          </p:nvSpPr>
          <p:spPr>
            <a:xfrm flipV="1">
              <a:off x="1351059" y="314365"/>
              <a:ext cx="73041" cy="45719"/>
            </a:xfrm>
            <a:prstGeom prst="rtTriangle">
              <a:avLst/>
            </a:prstGeom>
            <a:solidFill>
              <a:srgbClr val="677E9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21" name="사각형: 둥근 한쪽 모서리 14">
              <a:extLst>
                <a:ext uri="{FF2B5EF4-FFF2-40B4-BE49-F238E27FC236}">
                  <a16:creationId xmlns:a16="http://schemas.microsoft.com/office/drawing/2014/main" id="{B84534BF-15CC-49CC-A441-34D55813ADF1}"/>
                </a:ext>
              </a:extLst>
            </p:cNvPr>
            <p:cNvSpPr/>
            <p:nvPr userDrawn="1"/>
          </p:nvSpPr>
          <p:spPr>
            <a:xfrm>
              <a:off x="423986" y="0"/>
              <a:ext cx="927468" cy="876252"/>
            </a:xfrm>
            <a:prstGeom prst="round1Rect">
              <a:avLst>
                <a:gd name="adj" fmla="val 0"/>
              </a:avLst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ko-KR" altLang="en-US" sz="180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grpSp>
          <p:nvGrpSpPr>
            <p:cNvPr id="22" name="그룹 21">
              <a:extLst>
                <a:ext uri="{FF2B5EF4-FFF2-40B4-BE49-F238E27FC236}">
                  <a16:creationId xmlns:a16="http://schemas.microsoft.com/office/drawing/2014/main" id="{A961E3B1-DC00-4FB1-9A4C-A8DA7C9269C6}"/>
                </a:ext>
              </a:extLst>
            </p:cNvPr>
            <p:cNvGrpSpPr/>
            <p:nvPr userDrawn="1"/>
          </p:nvGrpSpPr>
          <p:grpSpPr>
            <a:xfrm>
              <a:off x="424182" y="130594"/>
              <a:ext cx="999722" cy="201658"/>
              <a:chOff x="307975" y="143295"/>
              <a:chExt cx="828601" cy="201658"/>
            </a:xfrm>
          </p:grpSpPr>
          <p:sp>
            <p:nvSpPr>
              <p:cNvPr id="25" name="직사각형 24">
                <a:extLst>
                  <a:ext uri="{FF2B5EF4-FFF2-40B4-BE49-F238E27FC236}">
                    <a16:creationId xmlns:a16="http://schemas.microsoft.com/office/drawing/2014/main" id="{9E32754C-4601-4C0D-B471-2A73D20F4880}"/>
                  </a:ext>
                </a:extLst>
              </p:cNvPr>
              <p:cNvSpPr/>
              <p:nvPr/>
            </p:nvSpPr>
            <p:spPr>
              <a:xfrm>
                <a:off x="307975" y="170585"/>
                <a:ext cx="828601" cy="158025"/>
              </a:xfrm>
              <a:prstGeom prst="rect">
                <a:avLst/>
              </a:prstGeom>
              <a:solidFill>
                <a:srgbClr val="075E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0" algn="ctr"/>
                <a:endParaRPr lang="ko-KR" altLang="en-US" sz="1800">
                  <a:latin typeface="나눔바른고딕" panose="020B0603020101020101" pitchFamily="50" charset="-127"/>
                  <a:ea typeface="나눔바른고딕" panose="020B0603020101020101" pitchFamily="50" charset="-127"/>
                </a:endParaRPr>
              </a:p>
            </p:txBody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8294EF56-0000-4330-9773-F4F207640432}"/>
                  </a:ext>
                </a:extLst>
              </p:cNvPr>
              <p:cNvSpPr txBox="1"/>
              <p:nvPr/>
            </p:nvSpPr>
            <p:spPr>
              <a:xfrm>
                <a:off x="469587" y="143295"/>
                <a:ext cx="491855" cy="201658"/>
              </a:xfrm>
              <a:prstGeom prst="rect">
                <a:avLst/>
              </a:prstGeom>
              <a:noFill/>
            </p:spPr>
            <p:txBody>
              <a:bodyPr wrap="none" anchor="ctr">
                <a:spAutoFit/>
              </a:bodyPr>
              <a:lstStyle/>
              <a:p>
                <a:pPr marL="0" algn="dist" defTabSz="457200" rtl="0" eaLnBrk="1" latinLnBrk="0" hangingPunct="1">
                  <a:lnSpc>
                    <a:spcPct val="110000"/>
                  </a:lnSpc>
                </a:pPr>
                <a:r>
                  <a:rPr lang="en-US" altLang="ko-KR" sz="700" b="0" spc="100" baseline="0" dirty="0">
                    <a:ln>
                      <a:solidFill>
                        <a:schemeClr val="accent1"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나눔바른고딕" panose="020B0603020101020101" pitchFamily="50" charset="-127"/>
                    <a:cs typeface="Arial" panose="020B0604020202020204" pitchFamily="34" charset="0"/>
                  </a:rPr>
                  <a:t>Chapter</a:t>
                </a:r>
                <a:endParaRPr lang="en-US" altLang="ko-KR" sz="700" b="0" kern="1200" spc="100" baseline="0" dirty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나눔바른고딕" panose="020B0603020101020101" pitchFamily="50" charset="-127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7419C008-FE30-4697-A038-9C5009CBD7F3}"/>
                </a:ext>
              </a:extLst>
            </p:cNvPr>
            <p:cNvSpPr txBox="1"/>
            <p:nvPr userDrawn="1"/>
          </p:nvSpPr>
          <p:spPr bwMode="auto">
            <a:xfrm>
              <a:off x="728481" y="283562"/>
              <a:ext cx="318480" cy="379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18000" tIns="18000" rIns="18000" bIns="18000" numCol="1" rtlCol="0" anchor="b" anchorCtr="0" compatLnSpc="1">
              <a:prstTxWarp prst="textNoShape">
                <a:avLst/>
              </a:prstTxWarp>
              <a:spAutoFit/>
            </a:bodyPr>
            <a:lstStyle/>
            <a:p>
              <a:pPr algn="ctr" eaLnBrk="0" latinLnBrk="1" hangingPunct="0">
                <a:lnSpc>
                  <a:spcPct val="110000"/>
                </a:lnSpc>
              </a:pPr>
              <a:r>
                <a:rPr kumimoji="1" lang="en-US" altLang="ko-KR" sz="2200" b="1" u="none" strike="noStrike" kern="0" cap="none" spc="0" normalizeH="0" baseline="0" noProof="0">
                  <a:ln>
                    <a:solidFill>
                      <a:srgbClr val="F36622">
                        <a:alpha val="0"/>
                      </a:srgbClr>
                    </a:solidFill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ea typeface="나눔바른고딕" panose="020B0603020101020101" pitchFamily="50" charset="-127"/>
                  <a:cs typeface="Arial" panose="020B0604020202020204" pitchFamily="34" charset="0"/>
                </a:rPr>
                <a:t>Ⅴ</a:t>
              </a:r>
              <a:endParaRPr kumimoji="1" lang="en-US" altLang="ko-KR" sz="2200" b="1" u="none" strike="noStrike" kern="0" cap="none" spc="0" normalizeH="0" baseline="0" noProof="0" dirty="0">
                <a:ln>
                  <a:solidFill>
                    <a:srgbClr val="F36622">
                      <a:alpha val="0"/>
                    </a:srgbClr>
                  </a:solidFill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나눔바른고딕" panose="020B060302010102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4" name="사각형: 둥근 모서리 23">
              <a:extLst>
                <a:ext uri="{FF2B5EF4-FFF2-40B4-BE49-F238E27FC236}">
                  <a16:creationId xmlns:a16="http://schemas.microsoft.com/office/drawing/2014/main" id="{61BED7B0-9E6D-40DF-9EAA-624F4AF48F0C}"/>
                </a:ext>
              </a:extLst>
            </p:cNvPr>
            <p:cNvSpPr/>
            <p:nvPr userDrawn="1"/>
          </p:nvSpPr>
          <p:spPr>
            <a:xfrm>
              <a:off x="492809" y="641881"/>
              <a:ext cx="789822" cy="176330"/>
            </a:xfrm>
            <a:prstGeom prst="roundRect">
              <a:avLst>
                <a:gd name="adj" fmla="val 50000"/>
              </a:avLst>
            </a:prstGeom>
            <a:solidFill>
              <a:srgbClr val="14ACA8"/>
            </a:solidFill>
            <a:ln w="317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/>
              <a:r>
                <a:rPr lang="en-US" altLang="ko-KR" sz="800"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-</a:t>
              </a:r>
              <a:endParaRPr lang="ko-KR" altLang="en-US" sz="8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96143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>
        <p15:guide id="1" pos="217">
          <p15:clr>
            <a:srgbClr val="FBAE40"/>
          </p15:clr>
        </p15:guide>
        <p15:guide id="2" pos="6023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orient="horz" pos="98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내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그룹 52">
            <a:extLst>
              <a:ext uri="{FF2B5EF4-FFF2-40B4-BE49-F238E27FC236}">
                <a16:creationId xmlns:a16="http://schemas.microsoft.com/office/drawing/2014/main" id="{36F83EB8-E6BD-4571-92A6-12D30D419F8C}"/>
              </a:ext>
            </a:extLst>
          </p:cNvPr>
          <p:cNvGrpSpPr/>
          <p:nvPr userDrawn="1"/>
        </p:nvGrpSpPr>
        <p:grpSpPr>
          <a:xfrm>
            <a:off x="0" y="874079"/>
            <a:ext cx="12192000" cy="518908"/>
            <a:chOff x="0" y="749852"/>
            <a:chExt cx="9906000" cy="518908"/>
          </a:xfrm>
        </p:grpSpPr>
        <p:sp>
          <p:nvSpPr>
            <p:cNvPr id="54" name="직사각형 53">
              <a:extLst>
                <a:ext uri="{FF2B5EF4-FFF2-40B4-BE49-F238E27FC236}">
                  <a16:creationId xmlns:a16="http://schemas.microsoft.com/office/drawing/2014/main" id="{305AF673-E26F-4C71-BF68-E4ADD7DDBA5D}"/>
                </a:ext>
              </a:extLst>
            </p:cNvPr>
            <p:cNvSpPr/>
            <p:nvPr userDrawn="1"/>
          </p:nvSpPr>
          <p:spPr bwMode="auto">
            <a:xfrm>
              <a:off x="0" y="749852"/>
              <a:ext cx="9906000" cy="518908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lvl="0" algn="ctr" defTabSz="457200" eaLnBrk="1" latinLnBrk="0" hangingPunct="1"/>
              <a:endParaRPr lang="ko-KR" altLang="en-US" sz="18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55" name="직사각형 54">
              <a:extLst>
                <a:ext uri="{FF2B5EF4-FFF2-40B4-BE49-F238E27FC236}">
                  <a16:creationId xmlns:a16="http://schemas.microsoft.com/office/drawing/2014/main" id="{81FC9AED-A3A6-4422-A412-21464F69D367}"/>
                </a:ext>
              </a:extLst>
            </p:cNvPr>
            <p:cNvSpPr/>
            <p:nvPr userDrawn="1"/>
          </p:nvSpPr>
          <p:spPr>
            <a:xfrm>
              <a:off x="9837688" y="749852"/>
              <a:ext cx="68312" cy="518908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57" name="직사각형 56">
              <a:extLst>
                <a:ext uri="{FF2B5EF4-FFF2-40B4-BE49-F238E27FC236}">
                  <a16:creationId xmlns:a16="http://schemas.microsoft.com/office/drawing/2014/main" id="{4BBC0B70-6304-4E1C-A6C2-B0077ED4FC07}"/>
                </a:ext>
              </a:extLst>
            </p:cNvPr>
            <p:cNvSpPr/>
            <p:nvPr userDrawn="1"/>
          </p:nvSpPr>
          <p:spPr>
            <a:xfrm>
              <a:off x="1" y="749852"/>
              <a:ext cx="68312" cy="518908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</p:grpSp>
      <p:graphicFrame>
        <p:nvGraphicFramePr>
          <p:cNvPr id="5" name="개체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5" name="개체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직사각형 55"/>
          <p:cNvSpPr/>
          <p:nvPr userDrawn="1"/>
        </p:nvSpPr>
        <p:spPr>
          <a:xfrm>
            <a:off x="5867412" y="6580001"/>
            <a:ext cx="457176" cy="2308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/>
            <a:fld id="{BC41C62D-11DA-4B3C-95BA-2F1C14FD1816}" type="slidenum">
              <a:rPr kumimoji="0" lang="ko-KR" altLang="en-US" sz="900" b="1" smtClean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pPr algn="ctr"/>
              <a:t>‹#›</a:t>
            </a:fld>
            <a:endParaRPr lang="ko-KR" altLang="en-US" sz="900" b="1" dirty="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solidFill>
                <a:schemeClr val="tx1">
                  <a:lumMod val="50000"/>
                  <a:lumOff val="50000"/>
                </a:schemeClr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grpSp>
        <p:nvGrpSpPr>
          <p:cNvPr id="9" name="그룹 8">
            <a:extLst>
              <a:ext uri="{FF2B5EF4-FFF2-40B4-BE49-F238E27FC236}">
                <a16:creationId xmlns:a16="http://schemas.microsoft.com/office/drawing/2014/main" id="{A8EDF732-DA14-4E1D-AAAC-F80BAE2F455F}"/>
              </a:ext>
            </a:extLst>
          </p:cNvPr>
          <p:cNvGrpSpPr/>
          <p:nvPr userDrawn="1"/>
        </p:nvGrpSpPr>
        <p:grpSpPr>
          <a:xfrm>
            <a:off x="-24554" y="6781278"/>
            <a:ext cx="12216554" cy="76722"/>
            <a:chOff x="-19950" y="6808662"/>
            <a:chExt cx="9925950" cy="76722"/>
          </a:xfrm>
        </p:grpSpPr>
        <p:sp>
          <p:nvSpPr>
            <p:cNvPr id="28" name="직사각형 27">
              <a:extLst>
                <a:ext uri="{FF2B5EF4-FFF2-40B4-BE49-F238E27FC236}">
                  <a16:creationId xmlns:a16="http://schemas.microsoft.com/office/drawing/2014/main" id="{EA80A4B2-F2C2-4496-BCEF-E12946709056}"/>
                </a:ext>
              </a:extLst>
            </p:cNvPr>
            <p:cNvSpPr/>
            <p:nvPr userDrawn="1"/>
          </p:nvSpPr>
          <p:spPr>
            <a:xfrm>
              <a:off x="-19950" y="6808662"/>
              <a:ext cx="9925950" cy="7672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3" name="직사각형 2">
              <a:extLst>
                <a:ext uri="{FF2B5EF4-FFF2-40B4-BE49-F238E27FC236}">
                  <a16:creationId xmlns:a16="http://schemas.microsoft.com/office/drawing/2014/main" id="{1B0EE37F-5693-41DD-85C7-80C39FCC7EB3}"/>
                </a:ext>
              </a:extLst>
            </p:cNvPr>
            <p:cNvSpPr/>
            <p:nvPr userDrawn="1"/>
          </p:nvSpPr>
          <p:spPr>
            <a:xfrm>
              <a:off x="4716397" y="6808662"/>
              <a:ext cx="473206" cy="7672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</p:grpSp>
      <p:sp>
        <p:nvSpPr>
          <p:cNvPr id="48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1537521" y="445353"/>
            <a:ext cx="8103489" cy="28469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0" rIns="9144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sz="2000" b="1" baseline="0">
                <a:ln>
                  <a:solidFill>
                    <a:srgbClr val="F36622">
                      <a:alpha val="0"/>
                    </a:srgb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pPr lvl="0"/>
            <a:r>
              <a:rPr lang="en-US" altLang="ko-KR" dirty="0"/>
              <a:t>Page Title</a:t>
            </a:r>
            <a:endParaRPr lang="ko-KR" altLang="en-US" dirty="0"/>
          </a:p>
        </p:txBody>
      </p:sp>
      <p:sp>
        <p:nvSpPr>
          <p:cNvPr id="58" name="텍스트 개체 틀 16"/>
          <p:cNvSpPr>
            <a:spLocks noGrp="1"/>
          </p:cNvSpPr>
          <p:nvPr>
            <p:ph type="body" sz="quarter" idx="12" hasCustomPrompt="1"/>
          </p:nvPr>
        </p:nvSpPr>
        <p:spPr>
          <a:xfrm>
            <a:off x="5245127" y="938542"/>
            <a:ext cx="1701748" cy="390107"/>
          </a:xfrm>
          <a:prstGeom prst="rect">
            <a:avLst/>
          </a:prstGeom>
        </p:spPr>
        <p:txBody>
          <a:bodyPr wrap="none" anchor="ctr">
            <a:spAutoFit/>
          </a:bodyPr>
          <a:lstStyle>
            <a:lvl1pPr marL="0" indent="0" algn="ctr" latinLnBrk="0">
              <a:lnSpc>
                <a:spcPct val="110000"/>
              </a:lnSpc>
              <a:buNone/>
              <a:defRPr sz="1800" b="1" baseline="0">
                <a:ln>
                  <a:solidFill>
                    <a:srgbClr val="F36622">
                      <a:alpha val="0"/>
                    </a:srgbClr>
                  </a:solidFill>
                </a:ln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pPr lvl="0"/>
            <a:r>
              <a:rPr lang="en-US" altLang="ko-KR" dirty="0"/>
              <a:t>Main Message</a:t>
            </a:r>
            <a:endParaRPr lang="ko-KR" altLang="ko-KR" dirty="0"/>
          </a:p>
        </p:txBody>
      </p:sp>
      <p:pic>
        <p:nvPicPr>
          <p:cNvPr id="50" name="그래픽 3">
            <a:extLst>
              <a:ext uri="{FF2B5EF4-FFF2-40B4-BE49-F238E27FC236}">
                <a16:creationId xmlns:a16="http://schemas.microsoft.com/office/drawing/2014/main" id="{5419C78B-58E7-48A3-ACB3-2789EDECC14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r="40428" b="-26173"/>
          <a:stretch/>
        </p:blipFill>
        <p:spPr>
          <a:xfrm>
            <a:off x="10850004" y="6438900"/>
            <a:ext cx="1047963" cy="302469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A20E7957-3B65-4E2E-9E85-990E094DB10A}"/>
              </a:ext>
            </a:extLst>
          </p:cNvPr>
          <p:cNvSpPr txBox="1"/>
          <p:nvPr userDrawn="1"/>
        </p:nvSpPr>
        <p:spPr>
          <a:xfrm>
            <a:off x="1461966" y="124560"/>
            <a:ext cx="3595856" cy="224677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 marL="0" algn="l" defTabSz="457200" rtl="0" eaLnBrk="1" latinLnBrk="0" hangingPunct="1">
              <a:lnSpc>
                <a:spcPct val="110000"/>
              </a:lnSpc>
            </a:pPr>
            <a:r>
              <a:rPr lang="ko-KR" altLang="en-US" sz="800" kern="120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rPr>
              <a:t>「</a:t>
            </a:r>
            <a:r>
              <a:rPr lang="en-US" altLang="ko-KR" sz="800" kern="120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rPr>
              <a:t>2023</a:t>
            </a:r>
            <a:r>
              <a:rPr lang="ko-KR" altLang="en-US" sz="800" kern="120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rPr>
              <a:t>년도 마이데이터 종합기반 조성사업」 의료재활 마이데이터 오퍼레이터 플랫폼</a:t>
            </a:r>
            <a:endParaRPr lang="en-US" altLang="ko-KR" sz="800" kern="120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chemeClr val="tx1">
                  <a:lumMod val="50000"/>
                  <a:lumOff val="50000"/>
                </a:schemeClr>
              </a:solidFill>
              <a:latin typeface="나눔바른고딕" panose="020B0603020101020101" pitchFamily="50" charset="-127"/>
              <a:ea typeface="나눔바른고딕" panose="020B0603020101020101" pitchFamily="50" charset="-127"/>
              <a:cs typeface="+mn-cs"/>
            </a:endParaRPr>
          </a:p>
        </p:txBody>
      </p:sp>
      <p:grpSp>
        <p:nvGrpSpPr>
          <p:cNvPr id="22" name="그룹 21">
            <a:extLst>
              <a:ext uri="{FF2B5EF4-FFF2-40B4-BE49-F238E27FC236}">
                <a16:creationId xmlns:a16="http://schemas.microsoft.com/office/drawing/2014/main" id="{53FE5CB7-52D5-4FDA-9448-B75FE973B069}"/>
              </a:ext>
            </a:extLst>
          </p:cNvPr>
          <p:cNvGrpSpPr/>
          <p:nvPr userDrawn="1"/>
        </p:nvGrpSpPr>
        <p:grpSpPr>
          <a:xfrm>
            <a:off x="423986" y="0"/>
            <a:ext cx="1000114" cy="876252"/>
            <a:chOff x="423986" y="0"/>
            <a:chExt cx="1000114" cy="876252"/>
          </a:xfrm>
        </p:grpSpPr>
        <p:sp>
          <p:nvSpPr>
            <p:cNvPr id="23" name="직각 삼각형 22">
              <a:extLst>
                <a:ext uri="{FF2B5EF4-FFF2-40B4-BE49-F238E27FC236}">
                  <a16:creationId xmlns:a16="http://schemas.microsoft.com/office/drawing/2014/main" id="{B4874322-AB22-4C75-89AC-B5F3373F8D20}"/>
                </a:ext>
              </a:extLst>
            </p:cNvPr>
            <p:cNvSpPr/>
            <p:nvPr userDrawn="1"/>
          </p:nvSpPr>
          <p:spPr>
            <a:xfrm flipV="1">
              <a:off x="1351059" y="314365"/>
              <a:ext cx="73041" cy="45719"/>
            </a:xfrm>
            <a:prstGeom prst="rtTriangle">
              <a:avLst/>
            </a:prstGeom>
            <a:solidFill>
              <a:srgbClr val="677E9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24" name="사각형: 둥근 한쪽 모서리 14">
              <a:extLst>
                <a:ext uri="{FF2B5EF4-FFF2-40B4-BE49-F238E27FC236}">
                  <a16:creationId xmlns:a16="http://schemas.microsoft.com/office/drawing/2014/main" id="{FA64E71F-1D44-4D37-896A-74D6DA7E1C3D}"/>
                </a:ext>
              </a:extLst>
            </p:cNvPr>
            <p:cNvSpPr/>
            <p:nvPr userDrawn="1"/>
          </p:nvSpPr>
          <p:spPr>
            <a:xfrm>
              <a:off x="423986" y="0"/>
              <a:ext cx="927468" cy="876252"/>
            </a:xfrm>
            <a:prstGeom prst="round1Rect">
              <a:avLst>
                <a:gd name="adj" fmla="val 0"/>
              </a:avLst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ko-KR" altLang="en-US" sz="180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grpSp>
          <p:nvGrpSpPr>
            <p:cNvPr id="26" name="그룹 25">
              <a:extLst>
                <a:ext uri="{FF2B5EF4-FFF2-40B4-BE49-F238E27FC236}">
                  <a16:creationId xmlns:a16="http://schemas.microsoft.com/office/drawing/2014/main" id="{46463733-7DFA-4C97-AB1D-738E7A452A3C}"/>
                </a:ext>
              </a:extLst>
            </p:cNvPr>
            <p:cNvGrpSpPr/>
            <p:nvPr userDrawn="1"/>
          </p:nvGrpSpPr>
          <p:grpSpPr>
            <a:xfrm>
              <a:off x="424182" y="130594"/>
              <a:ext cx="999722" cy="201658"/>
              <a:chOff x="307975" y="143295"/>
              <a:chExt cx="828601" cy="201658"/>
            </a:xfrm>
          </p:grpSpPr>
          <p:sp>
            <p:nvSpPr>
              <p:cNvPr id="31" name="직사각형 30">
                <a:extLst>
                  <a:ext uri="{FF2B5EF4-FFF2-40B4-BE49-F238E27FC236}">
                    <a16:creationId xmlns:a16="http://schemas.microsoft.com/office/drawing/2014/main" id="{D43A64C9-DC0F-4566-B66B-B3430ABE1A5A}"/>
                  </a:ext>
                </a:extLst>
              </p:cNvPr>
              <p:cNvSpPr/>
              <p:nvPr/>
            </p:nvSpPr>
            <p:spPr>
              <a:xfrm>
                <a:off x="307975" y="170585"/>
                <a:ext cx="828601" cy="158025"/>
              </a:xfrm>
              <a:prstGeom prst="rect">
                <a:avLst/>
              </a:prstGeom>
              <a:solidFill>
                <a:srgbClr val="075E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0" algn="ctr"/>
                <a:endParaRPr lang="ko-KR" altLang="en-US" sz="1800">
                  <a:latin typeface="나눔바른고딕" panose="020B0603020101020101" pitchFamily="50" charset="-127"/>
                  <a:ea typeface="나눔바른고딕" panose="020B0603020101020101" pitchFamily="50" charset="-127"/>
                </a:endParaRPr>
              </a:p>
            </p:txBody>
          </p: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A65D8EE6-6DF8-4FB4-A9FF-C1AA35499E51}"/>
                  </a:ext>
                </a:extLst>
              </p:cNvPr>
              <p:cNvSpPr txBox="1"/>
              <p:nvPr/>
            </p:nvSpPr>
            <p:spPr>
              <a:xfrm>
                <a:off x="469587" y="143295"/>
                <a:ext cx="491855" cy="201658"/>
              </a:xfrm>
              <a:prstGeom prst="rect">
                <a:avLst/>
              </a:prstGeom>
              <a:noFill/>
            </p:spPr>
            <p:txBody>
              <a:bodyPr wrap="none" anchor="ctr">
                <a:spAutoFit/>
              </a:bodyPr>
              <a:lstStyle/>
              <a:p>
                <a:pPr marL="0" algn="dist" defTabSz="457200" rtl="0" eaLnBrk="1" latinLnBrk="0" hangingPunct="1">
                  <a:lnSpc>
                    <a:spcPct val="110000"/>
                  </a:lnSpc>
                </a:pPr>
                <a:r>
                  <a:rPr lang="en-US" altLang="ko-KR" sz="700" b="0" spc="100" baseline="0" dirty="0">
                    <a:ln>
                      <a:solidFill>
                        <a:schemeClr val="accent1"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나눔바른고딕" panose="020B0603020101020101" pitchFamily="50" charset="-127"/>
                    <a:cs typeface="Arial" panose="020B0604020202020204" pitchFamily="34" charset="0"/>
                  </a:rPr>
                  <a:t>Chapter</a:t>
                </a:r>
                <a:endParaRPr lang="en-US" altLang="ko-KR" sz="700" b="0" kern="1200" spc="100" baseline="0" dirty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나눔바른고딕" panose="020B0603020101020101" pitchFamily="50" charset="-127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F4C62A32-6858-455F-907A-E15303393D26}"/>
                </a:ext>
              </a:extLst>
            </p:cNvPr>
            <p:cNvSpPr txBox="1"/>
            <p:nvPr userDrawn="1"/>
          </p:nvSpPr>
          <p:spPr bwMode="auto">
            <a:xfrm>
              <a:off x="728481" y="283562"/>
              <a:ext cx="318480" cy="379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18000" tIns="18000" rIns="18000" bIns="18000" numCol="1" rtlCol="0" anchor="b" anchorCtr="0" compatLnSpc="1">
              <a:prstTxWarp prst="textNoShape">
                <a:avLst/>
              </a:prstTxWarp>
              <a:spAutoFit/>
            </a:bodyPr>
            <a:lstStyle/>
            <a:p>
              <a:pPr algn="ctr" eaLnBrk="0" latinLnBrk="1" hangingPunct="0">
                <a:lnSpc>
                  <a:spcPct val="110000"/>
                </a:lnSpc>
              </a:pPr>
              <a:r>
                <a:rPr kumimoji="1" lang="en-US" altLang="ko-KR" sz="2200" b="1" u="none" strike="noStrike" kern="0" cap="none" spc="0" normalizeH="0" baseline="0" noProof="0">
                  <a:ln>
                    <a:solidFill>
                      <a:srgbClr val="F36622">
                        <a:alpha val="0"/>
                      </a:srgbClr>
                    </a:solidFill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ea typeface="나눔바른고딕" panose="020B0603020101020101" pitchFamily="50" charset="-127"/>
                  <a:cs typeface="Arial" panose="020B0604020202020204" pitchFamily="34" charset="0"/>
                </a:rPr>
                <a:t>Ⅴ</a:t>
              </a:r>
              <a:endParaRPr kumimoji="1" lang="en-US" altLang="ko-KR" sz="2200" b="1" u="none" strike="noStrike" kern="0" cap="none" spc="0" normalizeH="0" baseline="0" noProof="0" dirty="0">
                <a:ln>
                  <a:solidFill>
                    <a:srgbClr val="F36622">
                      <a:alpha val="0"/>
                    </a:srgbClr>
                  </a:solidFill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나눔바른고딕" panose="020B060302010102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9" name="사각형: 둥근 모서리 28">
              <a:extLst>
                <a:ext uri="{FF2B5EF4-FFF2-40B4-BE49-F238E27FC236}">
                  <a16:creationId xmlns:a16="http://schemas.microsoft.com/office/drawing/2014/main" id="{62EB48C9-3049-4646-9474-6F144DCE87C8}"/>
                </a:ext>
              </a:extLst>
            </p:cNvPr>
            <p:cNvSpPr/>
            <p:nvPr userDrawn="1"/>
          </p:nvSpPr>
          <p:spPr>
            <a:xfrm>
              <a:off x="492809" y="641881"/>
              <a:ext cx="789822" cy="176330"/>
            </a:xfrm>
            <a:prstGeom prst="roundRect">
              <a:avLst>
                <a:gd name="adj" fmla="val 50000"/>
              </a:avLst>
            </a:prstGeom>
            <a:solidFill>
              <a:srgbClr val="14ACA8"/>
            </a:solidFill>
            <a:ln w="317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/>
              <a:r>
                <a:rPr lang="en-US" altLang="ko-KR" sz="800"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-</a:t>
              </a:r>
              <a:endParaRPr lang="ko-KR" altLang="en-US" sz="8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53314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>
        <p15:guide id="1" pos="217">
          <p15:clr>
            <a:srgbClr val="FBAE40"/>
          </p15:clr>
        </p15:guide>
        <p15:guide id="2" pos="6023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orient="horz" pos="98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끝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" name="그림 48">
            <a:extLst>
              <a:ext uri="{FF2B5EF4-FFF2-40B4-BE49-F238E27FC236}">
                <a16:creationId xmlns:a16="http://schemas.microsoft.com/office/drawing/2014/main" id="{086B2C1C-6C48-449B-BFE6-ED21180FAFC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 flipH="1">
            <a:off x="1228725" y="1"/>
            <a:ext cx="10963275" cy="6853781"/>
          </a:xfrm>
          <a:prstGeom prst="rect">
            <a:avLst/>
          </a:prstGeom>
        </p:spPr>
      </p:pic>
      <p:graphicFrame>
        <p:nvGraphicFramePr>
          <p:cNvPr id="5" name="개체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개체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그림 7">
            <a:extLst>
              <a:ext uri="{FF2B5EF4-FFF2-40B4-BE49-F238E27FC236}">
                <a16:creationId xmlns:a16="http://schemas.microsoft.com/office/drawing/2014/main" id="{E0A8506F-606C-4ECB-B20E-CEE4A06CC4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 flipH="1">
            <a:off x="0" y="1"/>
            <a:ext cx="10963275" cy="6853781"/>
          </a:xfrm>
          <a:prstGeom prst="rect">
            <a:avLst/>
          </a:prstGeom>
        </p:spPr>
      </p:pic>
      <p:grpSp>
        <p:nvGrpSpPr>
          <p:cNvPr id="11" name="그룹 10">
            <a:extLst>
              <a:ext uri="{FF2B5EF4-FFF2-40B4-BE49-F238E27FC236}">
                <a16:creationId xmlns:a16="http://schemas.microsoft.com/office/drawing/2014/main" id="{AAD83194-4E81-46E4-ADC7-C438F270D7F6}"/>
              </a:ext>
            </a:extLst>
          </p:cNvPr>
          <p:cNvGrpSpPr/>
          <p:nvPr userDrawn="1"/>
        </p:nvGrpSpPr>
        <p:grpSpPr>
          <a:xfrm>
            <a:off x="4230513" y="3210867"/>
            <a:ext cx="751062" cy="762645"/>
            <a:chOff x="5486499" y="3124841"/>
            <a:chExt cx="762645" cy="762645"/>
          </a:xfrm>
        </p:grpSpPr>
        <p:sp>
          <p:nvSpPr>
            <p:cNvPr id="12" name="타원 11">
              <a:extLst>
                <a:ext uri="{FF2B5EF4-FFF2-40B4-BE49-F238E27FC236}">
                  <a16:creationId xmlns:a16="http://schemas.microsoft.com/office/drawing/2014/main" id="{4382B48F-4294-44A1-873B-C2A83688C367}"/>
                </a:ext>
              </a:extLst>
            </p:cNvPr>
            <p:cNvSpPr/>
            <p:nvPr/>
          </p:nvSpPr>
          <p:spPr>
            <a:xfrm>
              <a:off x="5486499" y="3124841"/>
              <a:ext cx="762645" cy="762645"/>
            </a:xfrm>
            <a:prstGeom prst="ellipse">
              <a:avLst/>
            </a:prstGeom>
            <a:solidFill>
              <a:srgbClr val="FF5672"/>
            </a:solidFill>
            <a:ln w="3175" cap="flat" cmpd="sng" algn="ctr">
              <a:noFill/>
              <a:prstDash val="solid"/>
              <a:round/>
              <a:headEnd w="med" len="med"/>
              <a:tailEnd w="med" len="med"/>
            </a:ln>
            <a:effectLst>
              <a:outerShdw blurRad="50800" dist="38100" dir="2700000" algn="tl" rotWithShape="0">
                <a:schemeClr val="accent5">
                  <a:lumMod val="75000"/>
                  <a:alpha val="31000"/>
                </a:schemeClr>
              </a:outerShdw>
            </a:effectLst>
          </p:spPr>
          <p:txBody>
            <a:bodyPr lIns="36000" tIns="18000" rIns="36000" bIns="18000" rtlCol="0" anchor="ctr"/>
            <a:lstStyle/>
            <a:p>
              <a:pPr algn="ctr"/>
              <a:endParaRPr lang="ko-KR" altLang="en-US" sz="2000" dirty="0">
                <a:latin typeface="+mn-ea"/>
                <a:ea typeface="+mn-ea"/>
              </a:endParaRPr>
            </a:p>
          </p:txBody>
        </p:sp>
        <p:grpSp>
          <p:nvGrpSpPr>
            <p:cNvPr id="13" name="그룹 12">
              <a:extLst>
                <a:ext uri="{FF2B5EF4-FFF2-40B4-BE49-F238E27FC236}">
                  <a16:creationId xmlns:a16="http://schemas.microsoft.com/office/drawing/2014/main" id="{4D88803D-7D6A-445C-AA00-41094A23E057}"/>
                </a:ext>
              </a:extLst>
            </p:cNvPr>
            <p:cNvGrpSpPr/>
            <p:nvPr/>
          </p:nvGrpSpPr>
          <p:grpSpPr>
            <a:xfrm>
              <a:off x="5677432" y="3297401"/>
              <a:ext cx="380778" cy="417525"/>
              <a:chOff x="5652342" y="3269890"/>
              <a:chExt cx="430958" cy="472548"/>
            </a:xfrm>
          </p:grpSpPr>
          <p:grpSp>
            <p:nvGrpSpPr>
              <p:cNvPr id="14" name="그래픽 21">
                <a:extLst>
                  <a:ext uri="{FF2B5EF4-FFF2-40B4-BE49-F238E27FC236}">
                    <a16:creationId xmlns:a16="http://schemas.microsoft.com/office/drawing/2014/main" id="{06A17E54-3F63-4863-B82C-8B82F464EE9B}"/>
                  </a:ext>
                </a:extLst>
              </p:cNvPr>
              <p:cNvGrpSpPr/>
              <p:nvPr/>
            </p:nvGrpSpPr>
            <p:grpSpPr>
              <a:xfrm>
                <a:off x="5652342" y="3269890"/>
                <a:ext cx="430958" cy="472548"/>
                <a:chOff x="10469592" y="1697878"/>
                <a:chExt cx="2398595" cy="2630078"/>
              </a:xfrm>
              <a:solidFill>
                <a:srgbClr val="FF5672"/>
              </a:solidFill>
            </p:grpSpPr>
            <p:sp>
              <p:nvSpPr>
                <p:cNvPr id="17" name="자유형: 도형 16">
                  <a:extLst>
                    <a:ext uri="{FF2B5EF4-FFF2-40B4-BE49-F238E27FC236}">
                      <a16:creationId xmlns:a16="http://schemas.microsoft.com/office/drawing/2014/main" id="{F77A702E-D1FB-438B-AA03-8E6B3D71DE6E}"/>
                    </a:ext>
                  </a:extLst>
                </p:cNvPr>
                <p:cNvSpPr/>
                <p:nvPr/>
              </p:nvSpPr>
              <p:spPr>
                <a:xfrm>
                  <a:off x="11075608" y="3344976"/>
                  <a:ext cx="170497" cy="705802"/>
                </a:xfrm>
                <a:custGeom>
                  <a:avLst/>
                  <a:gdLst>
                    <a:gd name="connsiteX0" fmla="*/ 0 w 170497"/>
                    <a:gd name="connsiteY0" fmla="*/ 0 h 705802"/>
                    <a:gd name="connsiteX1" fmla="*/ 170498 w 170497"/>
                    <a:gd name="connsiteY1" fmla="*/ 0 h 705802"/>
                    <a:gd name="connsiteX2" fmla="*/ 170498 w 170497"/>
                    <a:gd name="connsiteY2" fmla="*/ 705803 h 705802"/>
                    <a:gd name="connsiteX3" fmla="*/ 0 w 170497"/>
                    <a:gd name="connsiteY3" fmla="*/ 705803 h 7058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70497" h="705802">
                      <a:moveTo>
                        <a:pt x="0" y="0"/>
                      </a:moveTo>
                      <a:lnTo>
                        <a:pt x="170498" y="0"/>
                      </a:lnTo>
                      <a:lnTo>
                        <a:pt x="170498" y="705803"/>
                      </a:lnTo>
                      <a:lnTo>
                        <a:pt x="0" y="705803"/>
                      </a:lnTo>
                      <a:close/>
                    </a:path>
                  </a:pathLst>
                </a:custGeom>
                <a:grpFill/>
                <a:ln w="19050" cap="rnd">
                  <a:solidFill>
                    <a:schemeClr val="bg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ko-KR" altLang="en-US" sz="1800">
                    <a:latin typeface="+mn-ea"/>
                    <a:ea typeface="+mn-ea"/>
                  </a:endParaRPr>
                </a:p>
              </p:txBody>
            </p:sp>
            <p:sp>
              <p:nvSpPr>
                <p:cNvPr id="18" name="자유형: 도형 17">
                  <a:extLst>
                    <a:ext uri="{FF2B5EF4-FFF2-40B4-BE49-F238E27FC236}">
                      <a16:creationId xmlns:a16="http://schemas.microsoft.com/office/drawing/2014/main" id="{5F4ACAB6-43F4-4BB2-95B5-D3C80A9A37E5}"/>
                    </a:ext>
                  </a:extLst>
                </p:cNvPr>
                <p:cNvSpPr/>
                <p:nvPr/>
              </p:nvSpPr>
              <p:spPr>
                <a:xfrm>
                  <a:off x="10981263" y="4050779"/>
                  <a:ext cx="361091" cy="277177"/>
                </a:xfrm>
                <a:custGeom>
                  <a:avLst/>
                  <a:gdLst>
                    <a:gd name="connsiteX0" fmla="*/ 264842 w 361091"/>
                    <a:gd name="connsiteY0" fmla="*/ 0 h 277177"/>
                    <a:gd name="connsiteX1" fmla="*/ 94344 w 361091"/>
                    <a:gd name="connsiteY1" fmla="*/ 0 h 277177"/>
                    <a:gd name="connsiteX2" fmla="*/ 4809 w 361091"/>
                    <a:gd name="connsiteY2" fmla="*/ 200025 h 277177"/>
                    <a:gd name="connsiteX3" fmla="*/ 55292 w 361091"/>
                    <a:gd name="connsiteY3" fmla="*/ 277178 h 277177"/>
                    <a:gd name="connsiteX4" fmla="*/ 305799 w 361091"/>
                    <a:gd name="connsiteY4" fmla="*/ 277178 h 277177"/>
                    <a:gd name="connsiteX5" fmla="*/ 356282 w 361091"/>
                    <a:gd name="connsiteY5" fmla="*/ 200025 h 277177"/>
                    <a:gd name="connsiteX6" fmla="*/ 264842 w 361091"/>
                    <a:gd name="connsiteY6" fmla="*/ 0 h 2771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61091" h="277177">
                      <a:moveTo>
                        <a:pt x="264842" y="0"/>
                      </a:moveTo>
                      <a:lnTo>
                        <a:pt x="94344" y="0"/>
                      </a:lnTo>
                      <a:lnTo>
                        <a:pt x="4809" y="200025"/>
                      </a:lnTo>
                      <a:cubicBezTo>
                        <a:pt x="-11383" y="236220"/>
                        <a:pt x="15287" y="277178"/>
                        <a:pt x="55292" y="277178"/>
                      </a:cubicBezTo>
                      <a:lnTo>
                        <a:pt x="305799" y="277178"/>
                      </a:lnTo>
                      <a:cubicBezTo>
                        <a:pt x="345804" y="277178"/>
                        <a:pt x="372474" y="236220"/>
                        <a:pt x="356282" y="200025"/>
                      </a:cubicBezTo>
                      <a:lnTo>
                        <a:pt x="264842" y="0"/>
                      </a:lnTo>
                      <a:close/>
                    </a:path>
                  </a:pathLst>
                </a:custGeom>
                <a:solidFill>
                  <a:srgbClr val="FF8599"/>
                </a:solidFill>
                <a:ln w="19050" cap="rnd">
                  <a:solidFill>
                    <a:schemeClr val="bg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ko-KR" altLang="en-US" sz="1800">
                    <a:latin typeface="+mn-ea"/>
                    <a:ea typeface="+mn-ea"/>
                  </a:endParaRPr>
                </a:p>
              </p:txBody>
            </p:sp>
            <p:sp>
              <p:nvSpPr>
                <p:cNvPr id="19" name="자유형: 도형 18">
                  <a:extLst>
                    <a:ext uri="{FF2B5EF4-FFF2-40B4-BE49-F238E27FC236}">
                      <a16:creationId xmlns:a16="http://schemas.microsoft.com/office/drawing/2014/main" id="{DD2A05E1-9CD6-4710-979A-F8DF56D62CA0}"/>
                    </a:ext>
                  </a:extLst>
                </p:cNvPr>
                <p:cNvSpPr/>
                <p:nvPr/>
              </p:nvSpPr>
              <p:spPr>
                <a:xfrm>
                  <a:off x="10686035" y="1965756"/>
                  <a:ext cx="948690" cy="1467802"/>
                </a:xfrm>
                <a:custGeom>
                  <a:avLst/>
                  <a:gdLst>
                    <a:gd name="connsiteX0" fmla="*/ 782003 w 948690"/>
                    <a:gd name="connsiteY0" fmla="*/ 0 h 1467802"/>
                    <a:gd name="connsiteX1" fmla="*/ 782003 w 948690"/>
                    <a:gd name="connsiteY1" fmla="*/ 994410 h 1467802"/>
                    <a:gd name="connsiteX2" fmla="*/ 475297 w 948690"/>
                    <a:gd name="connsiteY2" fmla="*/ 1301115 h 1467802"/>
                    <a:gd name="connsiteX3" fmla="*/ 475297 w 948690"/>
                    <a:gd name="connsiteY3" fmla="*/ 1301115 h 1467802"/>
                    <a:gd name="connsiteX4" fmla="*/ 168593 w 948690"/>
                    <a:gd name="connsiteY4" fmla="*/ 994410 h 1467802"/>
                    <a:gd name="connsiteX5" fmla="*/ 168593 w 948690"/>
                    <a:gd name="connsiteY5" fmla="*/ 0 h 1467802"/>
                    <a:gd name="connsiteX6" fmla="*/ 0 w 948690"/>
                    <a:gd name="connsiteY6" fmla="*/ 0 h 1467802"/>
                    <a:gd name="connsiteX7" fmla="*/ 0 w 948690"/>
                    <a:gd name="connsiteY7" fmla="*/ 993457 h 1467802"/>
                    <a:gd name="connsiteX8" fmla="*/ 474345 w 948690"/>
                    <a:gd name="connsiteY8" fmla="*/ 1467803 h 1467802"/>
                    <a:gd name="connsiteX9" fmla="*/ 474345 w 948690"/>
                    <a:gd name="connsiteY9" fmla="*/ 1467803 h 1467802"/>
                    <a:gd name="connsiteX10" fmla="*/ 948690 w 948690"/>
                    <a:gd name="connsiteY10" fmla="*/ 993457 h 1467802"/>
                    <a:gd name="connsiteX11" fmla="*/ 948690 w 948690"/>
                    <a:gd name="connsiteY11" fmla="*/ 0 h 1467802"/>
                    <a:gd name="connsiteX12" fmla="*/ 782003 w 948690"/>
                    <a:gd name="connsiteY12" fmla="*/ 0 h 14678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948690" h="1467802">
                      <a:moveTo>
                        <a:pt x="782003" y="0"/>
                      </a:moveTo>
                      <a:lnTo>
                        <a:pt x="782003" y="994410"/>
                      </a:lnTo>
                      <a:cubicBezTo>
                        <a:pt x="782003" y="1163955"/>
                        <a:pt x="644843" y="1301115"/>
                        <a:pt x="475297" y="1301115"/>
                      </a:cubicBezTo>
                      <a:lnTo>
                        <a:pt x="475297" y="1301115"/>
                      </a:lnTo>
                      <a:cubicBezTo>
                        <a:pt x="305753" y="1301115"/>
                        <a:pt x="168593" y="1163955"/>
                        <a:pt x="168593" y="994410"/>
                      </a:cubicBezTo>
                      <a:lnTo>
                        <a:pt x="168593" y="0"/>
                      </a:lnTo>
                      <a:lnTo>
                        <a:pt x="0" y="0"/>
                      </a:lnTo>
                      <a:lnTo>
                        <a:pt x="0" y="993457"/>
                      </a:lnTo>
                      <a:cubicBezTo>
                        <a:pt x="0" y="1255395"/>
                        <a:pt x="212408" y="1467803"/>
                        <a:pt x="474345" y="1467803"/>
                      </a:cubicBezTo>
                      <a:lnTo>
                        <a:pt x="474345" y="1467803"/>
                      </a:lnTo>
                      <a:cubicBezTo>
                        <a:pt x="736283" y="1467803"/>
                        <a:pt x="948690" y="1255395"/>
                        <a:pt x="948690" y="993457"/>
                      </a:cubicBezTo>
                      <a:lnTo>
                        <a:pt x="948690" y="0"/>
                      </a:lnTo>
                      <a:lnTo>
                        <a:pt x="782003" y="0"/>
                      </a:lnTo>
                      <a:close/>
                    </a:path>
                  </a:pathLst>
                </a:custGeom>
                <a:grpFill/>
                <a:ln w="19050" cap="rnd">
                  <a:solidFill>
                    <a:schemeClr val="bg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ko-KR" altLang="en-US" sz="1800">
                    <a:latin typeface="+mn-ea"/>
                    <a:ea typeface="+mn-ea"/>
                  </a:endParaRPr>
                </a:p>
              </p:txBody>
            </p:sp>
            <p:sp>
              <p:nvSpPr>
                <p:cNvPr id="20" name="자유형: 도형 19">
                  <a:extLst>
                    <a:ext uri="{FF2B5EF4-FFF2-40B4-BE49-F238E27FC236}">
                      <a16:creationId xmlns:a16="http://schemas.microsoft.com/office/drawing/2014/main" id="{8BFD839A-01F9-4511-BFD7-A95E1AE9EC23}"/>
                    </a:ext>
                  </a:extLst>
                </p:cNvPr>
                <p:cNvSpPr/>
                <p:nvPr/>
              </p:nvSpPr>
              <p:spPr>
                <a:xfrm>
                  <a:off x="10469592" y="1697878"/>
                  <a:ext cx="1382110" cy="426945"/>
                </a:xfrm>
                <a:custGeom>
                  <a:avLst/>
                  <a:gdLst>
                    <a:gd name="connsiteX0" fmla="*/ 691740 w 1382110"/>
                    <a:gd name="connsiteY0" fmla="*/ 426945 h 426945"/>
                    <a:gd name="connsiteX1" fmla="*/ 81188 w 1382110"/>
                    <a:gd name="connsiteY1" fmla="*/ 276450 h 426945"/>
                    <a:gd name="connsiteX2" fmla="*/ 15465 w 1382110"/>
                    <a:gd name="connsiteY2" fmla="*/ 81188 h 426945"/>
                    <a:gd name="connsiteX3" fmla="*/ 209775 w 1382110"/>
                    <a:gd name="connsiteY3" fmla="*/ 15465 h 426945"/>
                    <a:gd name="connsiteX4" fmla="*/ 1171800 w 1382110"/>
                    <a:gd name="connsiteY4" fmla="*/ 15465 h 426945"/>
                    <a:gd name="connsiteX5" fmla="*/ 1367063 w 1382110"/>
                    <a:gd name="connsiteY5" fmla="*/ 81188 h 426945"/>
                    <a:gd name="connsiteX6" fmla="*/ 1301341 w 1382110"/>
                    <a:gd name="connsiteY6" fmla="*/ 276450 h 426945"/>
                    <a:gd name="connsiteX7" fmla="*/ 691740 w 1382110"/>
                    <a:gd name="connsiteY7" fmla="*/ 426945 h 4269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82110" h="426945">
                      <a:moveTo>
                        <a:pt x="691740" y="426945"/>
                      </a:moveTo>
                      <a:cubicBezTo>
                        <a:pt x="487905" y="426945"/>
                        <a:pt x="284070" y="376463"/>
                        <a:pt x="81188" y="276450"/>
                      </a:cubicBezTo>
                      <a:cubicBezTo>
                        <a:pt x="8798" y="240255"/>
                        <a:pt x="-20730" y="152625"/>
                        <a:pt x="15465" y="81188"/>
                      </a:cubicBezTo>
                      <a:cubicBezTo>
                        <a:pt x="50708" y="8798"/>
                        <a:pt x="138338" y="-20730"/>
                        <a:pt x="209775" y="15465"/>
                      </a:cubicBezTo>
                      <a:cubicBezTo>
                        <a:pt x="533625" y="176438"/>
                        <a:pt x="847950" y="176438"/>
                        <a:pt x="1171800" y="15465"/>
                      </a:cubicBezTo>
                      <a:cubicBezTo>
                        <a:pt x="1244191" y="-19777"/>
                        <a:pt x="1330868" y="8798"/>
                        <a:pt x="1367063" y="81188"/>
                      </a:cubicBezTo>
                      <a:cubicBezTo>
                        <a:pt x="1402305" y="153578"/>
                        <a:pt x="1373730" y="240255"/>
                        <a:pt x="1301341" y="276450"/>
                      </a:cubicBezTo>
                      <a:cubicBezTo>
                        <a:pt x="1099410" y="376463"/>
                        <a:pt x="895575" y="426945"/>
                        <a:pt x="691740" y="426945"/>
                      </a:cubicBezTo>
                      <a:close/>
                    </a:path>
                  </a:pathLst>
                </a:custGeom>
                <a:solidFill>
                  <a:srgbClr val="FF8599"/>
                </a:solidFill>
                <a:ln w="19050" cap="rnd">
                  <a:solidFill>
                    <a:schemeClr val="bg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ko-KR" altLang="en-US" sz="1800">
                    <a:latin typeface="+mn-ea"/>
                    <a:ea typeface="+mn-ea"/>
                  </a:endParaRPr>
                </a:p>
              </p:txBody>
            </p:sp>
            <p:sp>
              <p:nvSpPr>
                <p:cNvPr id="21" name="자유형: 도형 20">
                  <a:extLst>
                    <a:ext uri="{FF2B5EF4-FFF2-40B4-BE49-F238E27FC236}">
                      <a16:creationId xmlns:a16="http://schemas.microsoft.com/office/drawing/2014/main" id="{E1013490-F860-4D0C-BF02-C4BA3CF13BA2}"/>
                    </a:ext>
                  </a:extLst>
                </p:cNvPr>
                <p:cNvSpPr/>
                <p:nvPr/>
              </p:nvSpPr>
              <p:spPr>
                <a:xfrm>
                  <a:off x="12304333" y="1911464"/>
                  <a:ext cx="181927" cy="2157412"/>
                </a:xfrm>
                <a:custGeom>
                  <a:avLst/>
                  <a:gdLst>
                    <a:gd name="connsiteX0" fmla="*/ 0 w 181927"/>
                    <a:gd name="connsiteY0" fmla="*/ 0 h 2157412"/>
                    <a:gd name="connsiteX1" fmla="*/ 181928 w 181927"/>
                    <a:gd name="connsiteY1" fmla="*/ 0 h 2157412"/>
                    <a:gd name="connsiteX2" fmla="*/ 181928 w 181927"/>
                    <a:gd name="connsiteY2" fmla="*/ 2157413 h 2157412"/>
                    <a:gd name="connsiteX3" fmla="*/ 0 w 181927"/>
                    <a:gd name="connsiteY3" fmla="*/ 2157413 h 21574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81927" h="2157412">
                      <a:moveTo>
                        <a:pt x="0" y="0"/>
                      </a:moveTo>
                      <a:lnTo>
                        <a:pt x="181928" y="0"/>
                      </a:lnTo>
                      <a:lnTo>
                        <a:pt x="181928" y="2157413"/>
                      </a:lnTo>
                      <a:lnTo>
                        <a:pt x="0" y="2157413"/>
                      </a:lnTo>
                      <a:close/>
                    </a:path>
                  </a:pathLst>
                </a:custGeom>
                <a:grpFill/>
                <a:ln w="19050" cap="rnd">
                  <a:solidFill>
                    <a:schemeClr val="bg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ko-KR" altLang="en-US" sz="1800">
                    <a:latin typeface="+mn-ea"/>
                    <a:ea typeface="+mn-ea"/>
                  </a:endParaRPr>
                </a:p>
              </p:txBody>
            </p:sp>
            <p:sp>
              <p:nvSpPr>
                <p:cNvPr id="22" name="자유형: 도형 21">
                  <a:extLst>
                    <a:ext uri="{FF2B5EF4-FFF2-40B4-BE49-F238E27FC236}">
                      <a16:creationId xmlns:a16="http://schemas.microsoft.com/office/drawing/2014/main" id="{5D83C612-A040-4C07-AFD9-608050FCCA95}"/>
                    </a:ext>
                  </a:extLst>
                </p:cNvPr>
                <p:cNvSpPr/>
                <p:nvPr/>
              </p:nvSpPr>
              <p:spPr>
                <a:xfrm>
                  <a:off x="12178812" y="4068876"/>
                  <a:ext cx="433331" cy="259080"/>
                </a:xfrm>
                <a:custGeom>
                  <a:avLst/>
                  <a:gdLst>
                    <a:gd name="connsiteX0" fmla="*/ 307447 w 433331"/>
                    <a:gd name="connsiteY0" fmla="*/ 0 h 259080"/>
                    <a:gd name="connsiteX1" fmla="*/ 125520 w 433331"/>
                    <a:gd name="connsiteY1" fmla="*/ 0 h 259080"/>
                    <a:gd name="connsiteX2" fmla="*/ 16935 w 433331"/>
                    <a:gd name="connsiteY2" fmla="*/ 135255 h 259080"/>
                    <a:gd name="connsiteX3" fmla="*/ 76943 w 433331"/>
                    <a:gd name="connsiteY3" fmla="*/ 259080 h 259080"/>
                    <a:gd name="connsiteX4" fmla="*/ 356977 w 433331"/>
                    <a:gd name="connsiteY4" fmla="*/ 259080 h 259080"/>
                    <a:gd name="connsiteX5" fmla="*/ 416985 w 433331"/>
                    <a:gd name="connsiteY5" fmla="*/ 135255 h 259080"/>
                    <a:gd name="connsiteX6" fmla="*/ 307447 w 433331"/>
                    <a:gd name="connsiteY6" fmla="*/ 0 h 2590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33331" h="259080">
                      <a:moveTo>
                        <a:pt x="307447" y="0"/>
                      </a:moveTo>
                      <a:lnTo>
                        <a:pt x="125520" y="0"/>
                      </a:lnTo>
                      <a:lnTo>
                        <a:pt x="16935" y="135255"/>
                      </a:lnTo>
                      <a:cubicBezTo>
                        <a:pt x="-23070" y="184785"/>
                        <a:pt x="12172" y="259080"/>
                        <a:pt x="76943" y="259080"/>
                      </a:cubicBezTo>
                      <a:lnTo>
                        <a:pt x="356977" y="259080"/>
                      </a:lnTo>
                      <a:cubicBezTo>
                        <a:pt x="420795" y="259080"/>
                        <a:pt x="456038" y="184785"/>
                        <a:pt x="416985" y="135255"/>
                      </a:cubicBezTo>
                      <a:lnTo>
                        <a:pt x="307447" y="0"/>
                      </a:lnTo>
                      <a:close/>
                    </a:path>
                  </a:pathLst>
                </a:custGeom>
                <a:solidFill>
                  <a:srgbClr val="FF8599"/>
                </a:solidFill>
                <a:ln w="19050" cap="rnd">
                  <a:solidFill>
                    <a:schemeClr val="bg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ko-KR" altLang="en-US" sz="1800">
                    <a:latin typeface="+mn-ea"/>
                    <a:ea typeface="+mn-ea"/>
                  </a:endParaRPr>
                </a:p>
              </p:txBody>
            </p:sp>
            <p:sp>
              <p:nvSpPr>
                <p:cNvPr id="23" name="자유형: 도형 22">
                  <a:extLst>
                    <a:ext uri="{FF2B5EF4-FFF2-40B4-BE49-F238E27FC236}">
                      <a16:creationId xmlns:a16="http://schemas.microsoft.com/office/drawing/2014/main" id="{B4B53B3B-C280-4481-909B-491B92E6FEFA}"/>
                    </a:ext>
                  </a:extLst>
                </p:cNvPr>
                <p:cNvSpPr/>
                <p:nvPr/>
              </p:nvSpPr>
              <p:spPr>
                <a:xfrm>
                  <a:off x="11923187" y="1726533"/>
                  <a:ext cx="945000" cy="291610"/>
                </a:xfrm>
                <a:custGeom>
                  <a:avLst/>
                  <a:gdLst>
                    <a:gd name="connsiteX0" fmla="*/ 472585 w 945000"/>
                    <a:gd name="connsiteY0" fmla="*/ 291610 h 291610"/>
                    <a:gd name="connsiteX1" fmla="*/ 55390 w 945000"/>
                    <a:gd name="connsiteY1" fmla="*/ 188740 h 291610"/>
                    <a:gd name="connsiteX2" fmla="*/ 10622 w 945000"/>
                    <a:gd name="connsiteY2" fmla="*/ 55390 h 291610"/>
                    <a:gd name="connsiteX3" fmla="*/ 143972 w 945000"/>
                    <a:gd name="connsiteY3" fmla="*/ 10623 h 291610"/>
                    <a:gd name="connsiteX4" fmla="*/ 801198 w 945000"/>
                    <a:gd name="connsiteY4" fmla="*/ 10623 h 291610"/>
                    <a:gd name="connsiteX5" fmla="*/ 934548 w 945000"/>
                    <a:gd name="connsiteY5" fmla="*/ 55390 h 291610"/>
                    <a:gd name="connsiteX6" fmla="*/ 889780 w 945000"/>
                    <a:gd name="connsiteY6" fmla="*/ 188740 h 291610"/>
                    <a:gd name="connsiteX7" fmla="*/ 472585 w 945000"/>
                    <a:gd name="connsiteY7" fmla="*/ 291610 h 2916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45000" h="291610">
                      <a:moveTo>
                        <a:pt x="472585" y="291610"/>
                      </a:moveTo>
                      <a:cubicBezTo>
                        <a:pt x="333520" y="291610"/>
                        <a:pt x="194455" y="257320"/>
                        <a:pt x="55390" y="188740"/>
                      </a:cubicBezTo>
                      <a:cubicBezTo>
                        <a:pt x="5860" y="163975"/>
                        <a:pt x="-14142" y="104920"/>
                        <a:pt x="10622" y="55390"/>
                      </a:cubicBezTo>
                      <a:cubicBezTo>
                        <a:pt x="35388" y="5860"/>
                        <a:pt x="94443" y="-14142"/>
                        <a:pt x="143972" y="10623"/>
                      </a:cubicBezTo>
                      <a:cubicBezTo>
                        <a:pt x="364952" y="120160"/>
                        <a:pt x="580218" y="120160"/>
                        <a:pt x="801198" y="10623"/>
                      </a:cubicBezTo>
                      <a:cubicBezTo>
                        <a:pt x="850727" y="-14142"/>
                        <a:pt x="909783" y="6813"/>
                        <a:pt x="934548" y="55390"/>
                      </a:cubicBezTo>
                      <a:cubicBezTo>
                        <a:pt x="959312" y="104920"/>
                        <a:pt x="938358" y="163975"/>
                        <a:pt x="889780" y="188740"/>
                      </a:cubicBezTo>
                      <a:cubicBezTo>
                        <a:pt x="750715" y="257320"/>
                        <a:pt x="611650" y="291610"/>
                        <a:pt x="472585" y="291610"/>
                      </a:cubicBezTo>
                      <a:close/>
                    </a:path>
                  </a:pathLst>
                </a:custGeom>
                <a:grpFill/>
                <a:ln w="19050" cap="rnd">
                  <a:solidFill>
                    <a:schemeClr val="bg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ko-KR" altLang="en-US" sz="1800">
                    <a:latin typeface="+mn-ea"/>
                    <a:ea typeface="+mn-ea"/>
                  </a:endParaRPr>
                </a:p>
              </p:txBody>
            </p:sp>
          </p:grpSp>
          <p:cxnSp>
            <p:nvCxnSpPr>
              <p:cNvPr id="15" name="직선 연결선 14">
                <a:extLst>
                  <a:ext uri="{FF2B5EF4-FFF2-40B4-BE49-F238E27FC236}">
                    <a16:creationId xmlns:a16="http://schemas.microsoft.com/office/drawing/2014/main" id="{CC4D999E-7BAD-4799-9FA6-45FCF3CB110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728547" y="3429000"/>
                <a:ext cx="107575" cy="0"/>
              </a:xfrm>
              <a:prstGeom prst="line">
                <a:avLst/>
              </a:prstGeom>
              <a:ln w="190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직선 연결선 15">
                <a:extLst>
                  <a:ext uri="{FF2B5EF4-FFF2-40B4-BE49-F238E27FC236}">
                    <a16:creationId xmlns:a16="http://schemas.microsoft.com/office/drawing/2014/main" id="{2747C829-A0B9-4E5F-A5AC-2C70E5E16F6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720018" y="3501008"/>
                <a:ext cx="107575" cy="0"/>
              </a:xfrm>
              <a:prstGeom prst="line">
                <a:avLst/>
              </a:prstGeom>
              <a:ln w="190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4" name="그룹 23">
            <a:extLst>
              <a:ext uri="{FF2B5EF4-FFF2-40B4-BE49-F238E27FC236}">
                <a16:creationId xmlns:a16="http://schemas.microsoft.com/office/drawing/2014/main" id="{D92140E6-CFCF-45EB-91E8-2B9F7876FE85}"/>
              </a:ext>
            </a:extLst>
          </p:cNvPr>
          <p:cNvGrpSpPr/>
          <p:nvPr userDrawn="1"/>
        </p:nvGrpSpPr>
        <p:grpSpPr>
          <a:xfrm>
            <a:off x="1679470" y="1365576"/>
            <a:ext cx="665384" cy="675645"/>
            <a:chOff x="7883691" y="1216954"/>
            <a:chExt cx="675646" cy="675645"/>
          </a:xfrm>
        </p:grpSpPr>
        <p:sp>
          <p:nvSpPr>
            <p:cNvPr id="25" name="타원 24">
              <a:extLst>
                <a:ext uri="{FF2B5EF4-FFF2-40B4-BE49-F238E27FC236}">
                  <a16:creationId xmlns:a16="http://schemas.microsoft.com/office/drawing/2014/main" id="{02C72F4E-AD37-4618-AF78-8A5498DD6B8B}"/>
                </a:ext>
              </a:extLst>
            </p:cNvPr>
            <p:cNvSpPr/>
            <p:nvPr/>
          </p:nvSpPr>
          <p:spPr>
            <a:xfrm>
              <a:off x="7883691" y="1216954"/>
              <a:ext cx="675646" cy="675645"/>
            </a:xfrm>
            <a:prstGeom prst="ellipse">
              <a:avLst/>
            </a:prstGeom>
            <a:solidFill>
              <a:srgbClr val="00D2C8"/>
            </a:solidFill>
            <a:ln w="3175" cap="flat" cmpd="sng" algn="ctr">
              <a:noFill/>
              <a:prstDash val="solid"/>
              <a:round/>
              <a:headEnd w="med" len="med"/>
              <a:tailEnd w="med" len="med"/>
            </a:ln>
            <a:effectLst>
              <a:outerShdw blurRad="50800" dist="38100" dir="2700000" algn="tl" rotWithShape="0">
                <a:schemeClr val="accent5">
                  <a:lumMod val="75000"/>
                  <a:alpha val="31000"/>
                </a:schemeClr>
              </a:outerShdw>
            </a:effectLst>
          </p:spPr>
          <p:txBody>
            <a:bodyPr lIns="36000" tIns="18000" rIns="36000" bIns="18000" rtlCol="0" anchor="ctr"/>
            <a:lstStyle/>
            <a:p>
              <a:pPr algn="ctr"/>
              <a:endParaRPr lang="ko-KR" altLang="en-US" sz="2000" dirty="0">
                <a:latin typeface="+mn-ea"/>
                <a:ea typeface="+mn-ea"/>
              </a:endParaRPr>
            </a:p>
          </p:txBody>
        </p:sp>
        <p:grpSp>
          <p:nvGrpSpPr>
            <p:cNvPr id="26" name="그래픽 42">
              <a:extLst>
                <a:ext uri="{FF2B5EF4-FFF2-40B4-BE49-F238E27FC236}">
                  <a16:creationId xmlns:a16="http://schemas.microsoft.com/office/drawing/2014/main" id="{C5413DEA-360F-4E0E-8719-1B9E39ED62A2}"/>
                </a:ext>
              </a:extLst>
            </p:cNvPr>
            <p:cNvGrpSpPr/>
            <p:nvPr/>
          </p:nvGrpSpPr>
          <p:grpSpPr>
            <a:xfrm>
              <a:off x="8049344" y="1379557"/>
              <a:ext cx="378251" cy="350438"/>
              <a:chOff x="-1023664" y="2945563"/>
              <a:chExt cx="378251" cy="350438"/>
            </a:xfrm>
            <a:solidFill>
              <a:schemeClr val="bg1"/>
            </a:solidFill>
          </p:grpSpPr>
          <p:grpSp>
            <p:nvGrpSpPr>
              <p:cNvPr id="27" name="그래픽 42">
                <a:extLst>
                  <a:ext uri="{FF2B5EF4-FFF2-40B4-BE49-F238E27FC236}">
                    <a16:creationId xmlns:a16="http://schemas.microsoft.com/office/drawing/2014/main" id="{AA5564D2-6482-4266-958B-6F7580181798}"/>
                  </a:ext>
                </a:extLst>
              </p:cNvPr>
              <p:cNvGrpSpPr/>
              <p:nvPr/>
            </p:nvGrpSpPr>
            <p:grpSpPr>
              <a:xfrm>
                <a:off x="-1005585" y="2945563"/>
                <a:ext cx="360172" cy="304200"/>
                <a:chOff x="-1005585" y="2945563"/>
                <a:chExt cx="360172" cy="304200"/>
              </a:xfrm>
              <a:solidFill>
                <a:schemeClr val="bg1"/>
              </a:solidFill>
            </p:grpSpPr>
            <p:sp>
              <p:nvSpPr>
                <p:cNvPr id="36" name="자유형: 도형 35">
                  <a:extLst>
                    <a:ext uri="{FF2B5EF4-FFF2-40B4-BE49-F238E27FC236}">
                      <a16:creationId xmlns:a16="http://schemas.microsoft.com/office/drawing/2014/main" id="{DA61D4E3-59DE-42A6-837E-DABA2282A9EA}"/>
                    </a:ext>
                  </a:extLst>
                </p:cNvPr>
                <p:cNvSpPr/>
                <p:nvPr/>
              </p:nvSpPr>
              <p:spPr>
                <a:xfrm>
                  <a:off x="-1005585" y="2945563"/>
                  <a:ext cx="280906" cy="252746"/>
                </a:xfrm>
                <a:custGeom>
                  <a:avLst/>
                  <a:gdLst>
                    <a:gd name="connsiteX0" fmla="*/ 273954 w 280906"/>
                    <a:gd name="connsiteY0" fmla="*/ 252747 h 252746"/>
                    <a:gd name="connsiteX1" fmla="*/ 104297 w 280906"/>
                    <a:gd name="connsiteY1" fmla="*/ 252747 h 252746"/>
                    <a:gd name="connsiteX2" fmla="*/ 97344 w 280906"/>
                    <a:gd name="connsiteY2" fmla="*/ 247184 h 252746"/>
                    <a:gd name="connsiteX3" fmla="*/ 54930 w 280906"/>
                    <a:gd name="connsiteY3" fmla="*/ 13906 h 252746"/>
                    <a:gd name="connsiteX4" fmla="*/ 6953 w 280906"/>
                    <a:gd name="connsiteY4" fmla="*/ 13906 h 252746"/>
                    <a:gd name="connsiteX5" fmla="*/ 0 w 280906"/>
                    <a:gd name="connsiteY5" fmla="*/ 6953 h 252746"/>
                    <a:gd name="connsiteX6" fmla="*/ 6953 w 280906"/>
                    <a:gd name="connsiteY6" fmla="*/ 0 h 252746"/>
                    <a:gd name="connsiteX7" fmla="*/ 60840 w 280906"/>
                    <a:gd name="connsiteY7" fmla="*/ 0 h 252746"/>
                    <a:gd name="connsiteX8" fmla="*/ 67793 w 280906"/>
                    <a:gd name="connsiteY8" fmla="*/ 5563 h 252746"/>
                    <a:gd name="connsiteX9" fmla="*/ 110555 w 280906"/>
                    <a:gd name="connsiteY9" fmla="*/ 238493 h 252746"/>
                    <a:gd name="connsiteX10" fmla="*/ 273954 w 280906"/>
                    <a:gd name="connsiteY10" fmla="*/ 238493 h 252746"/>
                    <a:gd name="connsiteX11" fmla="*/ 280907 w 280906"/>
                    <a:gd name="connsiteY11" fmla="*/ 245446 h 252746"/>
                    <a:gd name="connsiteX12" fmla="*/ 273954 w 280906"/>
                    <a:gd name="connsiteY12" fmla="*/ 252747 h 2527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280906" h="252746">
                      <a:moveTo>
                        <a:pt x="273954" y="252747"/>
                      </a:moveTo>
                      <a:lnTo>
                        <a:pt x="104297" y="252747"/>
                      </a:lnTo>
                      <a:cubicBezTo>
                        <a:pt x="100821" y="252747"/>
                        <a:pt x="98039" y="250313"/>
                        <a:pt x="97344" y="247184"/>
                      </a:cubicBezTo>
                      <a:lnTo>
                        <a:pt x="54930" y="13906"/>
                      </a:lnTo>
                      <a:lnTo>
                        <a:pt x="6953" y="13906"/>
                      </a:lnTo>
                      <a:cubicBezTo>
                        <a:pt x="3129" y="13906"/>
                        <a:pt x="0" y="10777"/>
                        <a:pt x="0" y="6953"/>
                      </a:cubicBezTo>
                      <a:cubicBezTo>
                        <a:pt x="0" y="3129"/>
                        <a:pt x="3129" y="0"/>
                        <a:pt x="6953" y="0"/>
                      </a:cubicBezTo>
                      <a:lnTo>
                        <a:pt x="60840" y="0"/>
                      </a:lnTo>
                      <a:cubicBezTo>
                        <a:pt x="64317" y="0"/>
                        <a:pt x="67098" y="2434"/>
                        <a:pt x="67793" y="5563"/>
                      </a:cubicBezTo>
                      <a:lnTo>
                        <a:pt x="110555" y="238493"/>
                      </a:lnTo>
                      <a:lnTo>
                        <a:pt x="273954" y="238493"/>
                      </a:lnTo>
                      <a:cubicBezTo>
                        <a:pt x="277778" y="238493"/>
                        <a:pt x="280907" y="241622"/>
                        <a:pt x="280907" y="245446"/>
                      </a:cubicBezTo>
                      <a:cubicBezTo>
                        <a:pt x="280907" y="249270"/>
                        <a:pt x="277778" y="252747"/>
                        <a:pt x="273954" y="252747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ko-KR" altLang="en-US" sz="1800">
                    <a:latin typeface="+mn-ea"/>
                    <a:ea typeface="+mn-ea"/>
                  </a:endParaRPr>
                </a:p>
              </p:txBody>
            </p:sp>
            <p:sp>
              <p:nvSpPr>
                <p:cNvPr id="37" name="자유형: 도형 36">
                  <a:extLst>
                    <a:ext uri="{FF2B5EF4-FFF2-40B4-BE49-F238E27FC236}">
                      <a16:creationId xmlns:a16="http://schemas.microsoft.com/office/drawing/2014/main" id="{6EEF016E-205A-4B02-894B-94C7A622EB93}"/>
                    </a:ext>
                  </a:extLst>
                </p:cNvPr>
                <p:cNvSpPr/>
                <p:nvPr/>
              </p:nvSpPr>
              <p:spPr>
                <a:xfrm>
                  <a:off x="-928753" y="3043254"/>
                  <a:ext cx="283340" cy="206508"/>
                </a:xfrm>
                <a:custGeom>
                  <a:avLst/>
                  <a:gdLst>
                    <a:gd name="connsiteX0" fmla="*/ 276735 w 283340"/>
                    <a:gd name="connsiteY0" fmla="*/ 206509 h 206508"/>
                    <a:gd name="connsiteX1" fmla="*/ 215200 w 283340"/>
                    <a:gd name="connsiteY1" fmla="*/ 206509 h 206508"/>
                    <a:gd name="connsiteX2" fmla="*/ 208246 w 283340"/>
                    <a:gd name="connsiteY2" fmla="*/ 200946 h 206508"/>
                    <a:gd name="connsiteX3" fmla="*/ 177653 w 283340"/>
                    <a:gd name="connsiteY3" fmla="*/ 65360 h 206508"/>
                    <a:gd name="connsiteX4" fmla="*/ 127590 w 283340"/>
                    <a:gd name="connsiteY4" fmla="*/ 13906 h 206508"/>
                    <a:gd name="connsiteX5" fmla="*/ 6953 w 283340"/>
                    <a:gd name="connsiteY5" fmla="*/ 13906 h 206508"/>
                    <a:gd name="connsiteX6" fmla="*/ 0 w 283340"/>
                    <a:gd name="connsiteY6" fmla="*/ 6953 h 206508"/>
                    <a:gd name="connsiteX7" fmla="*/ 6953 w 283340"/>
                    <a:gd name="connsiteY7" fmla="*/ 0 h 206508"/>
                    <a:gd name="connsiteX8" fmla="*/ 127590 w 283340"/>
                    <a:gd name="connsiteY8" fmla="*/ 0 h 206508"/>
                    <a:gd name="connsiteX9" fmla="*/ 127938 w 283340"/>
                    <a:gd name="connsiteY9" fmla="*/ 0 h 206508"/>
                    <a:gd name="connsiteX10" fmla="*/ 190516 w 283340"/>
                    <a:gd name="connsiteY10" fmla="*/ 61188 h 206508"/>
                    <a:gd name="connsiteX11" fmla="*/ 190864 w 283340"/>
                    <a:gd name="connsiteY11" fmla="*/ 61883 h 206508"/>
                    <a:gd name="connsiteX12" fmla="*/ 220414 w 283340"/>
                    <a:gd name="connsiteY12" fmla="*/ 192602 h 206508"/>
                    <a:gd name="connsiteX13" fmla="*/ 276387 w 283340"/>
                    <a:gd name="connsiteY13" fmla="*/ 192602 h 206508"/>
                    <a:gd name="connsiteX14" fmla="*/ 283340 w 283340"/>
                    <a:gd name="connsiteY14" fmla="*/ 199555 h 206508"/>
                    <a:gd name="connsiteX15" fmla="*/ 276735 w 283340"/>
                    <a:gd name="connsiteY15" fmla="*/ 206509 h 2065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283340" h="206508">
                      <a:moveTo>
                        <a:pt x="276735" y="206509"/>
                      </a:moveTo>
                      <a:lnTo>
                        <a:pt x="215200" y="206509"/>
                      </a:lnTo>
                      <a:cubicBezTo>
                        <a:pt x="212071" y="206509"/>
                        <a:pt x="209289" y="204423"/>
                        <a:pt x="208246" y="200946"/>
                      </a:cubicBezTo>
                      <a:lnTo>
                        <a:pt x="177653" y="65360"/>
                      </a:lnTo>
                      <a:cubicBezTo>
                        <a:pt x="161660" y="18426"/>
                        <a:pt x="130371" y="14254"/>
                        <a:pt x="127590" y="13906"/>
                      </a:cubicBezTo>
                      <a:lnTo>
                        <a:pt x="6953" y="13906"/>
                      </a:lnTo>
                      <a:cubicBezTo>
                        <a:pt x="3129" y="13906"/>
                        <a:pt x="0" y="10777"/>
                        <a:pt x="0" y="6953"/>
                      </a:cubicBezTo>
                      <a:cubicBezTo>
                        <a:pt x="0" y="3129"/>
                        <a:pt x="3129" y="0"/>
                        <a:pt x="6953" y="0"/>
                      </a:cubicBezTo>
                      <a:lnTo>
                        <a:pt x="127590" y="0"/>
                      </a:lnTo>
                      <a:cubicBezTo>
                        <a:pt x="127590" y="0"/>
                        <a:pt x="127938" y="0"/>
                        <a:pt x="127938" y="0"/>
                      </a:cubicBezTo>
                      <a:cubicBezTo>
                        <a:pt x="129676" y="0"/>
                        <a:pt x="171395" y="3477"/>
                        <a:pt x="190516" y="61188"/>
                      </a:cubicBezTo>
                      <a:cubicBezTo>
                        <a:pt x="190516" y="61535"/>
                        <a:pt x="190516" y="61535"/>
                        <a:pt x="190864" y="61883"/>
                      </a:cubicBezTo>
                      <a:lnTo>
                        <a:pt x="220414" y="192602"/>
                      </a:lnTo>
                      <a:lnTo>
                        <a:pt x="276387" y="192602"/>
                      </a:lnTo>
                      <a:cubicBezTo>
                        <a:pt x="280211" y="192602"/>
                        <a:pt x="283340" y="195731"/>
                        <a:pt x="283340" y="199555"/>
                      </a:cubicBezTo>
                      <a:cubicBezTo>
                        <a:pt x="283340" y="203380"/>
                        <a:pt x="280559" y="206509"/>
                        <a:pt x="276735" y="206509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ko-KR" altLang="en-US" sz="1800">
                    <a:latin typeface="+mn-ea"/>
                    <a:ea typeface="+mn-ea"/>
                  </a:endParaRPr>
                </a:p>
              </p:txBody>
            </p:sp>
            <p:sp>
              <p:nvSpPr>
                <p:cNvPr id="38" name="자유형: 도형 37">
                  <a:extLst>
                    <a:ext uri="{FF2B5EF4-FFF2-40B4-BE49-F238E27FC236}">
                      <a16:creationId xmlns:a16="http://schemas.microsoft.com/office/drawing/2014/main" id="{431C587C-C328-4071-9959-9907869031D6}"/>
                    </a:ext>
                  </a:extLst>
                </p:cNvPr>
                <p:cNvSpPr/>
                <p:nvPr/>
              </p:nvSpPr>
              <p:spPr>
                <a:xfrm>
                  <a:off x="-923538" y="3089493"/>
                  <a:ext cx="170699" cy="13906"/>
                </a:xfrm>
                <a:custGeom>
                  <a:avLst/>
                  <a:gdLst>
                    <a:gd name="connsiteX0" fmla="*/ 163746 w 170699"/>
                    <a:gd name="connsiteY0" fmla="*/ 13906 h 13906"/>
                    <a:gd name="connsiteX1" fmla="*/ 6953 w 170699"/>
                    <a:gd name="connsiteY1" fmla="*/ 13906 h 13906"/>
                    <a:gd name="connsiteX2" fmla="*/ 0 w 170699"/>
                    <a:gd name="connsiteY2" fmla="*/ 6953 h 13906"/>
                    <a:gd name="connsiteX3" fmla="*/ 6953 w 170699"/>
                    <a:gd name="connsiteY3" fmla="*/ 0 h 13906"/>
                    <a:gd name="connsiteX4" fmla="*/ 163746 w 170699"/>
                    <a:gd name="connsiteY4" fmla="*/ 0 h 13906"/>
                    <a:gd name="connsiteX5" fmla="*/ 170700 w 170699"/>
                    <a:gd name="connsiteY5" fmla="*/ 6953 h 13906"/>
                    <a:gd name="connsiteX6" fmla="*/ 163746 w 170699"/>
                    <a:gd name="connsiteY6" fmla="*/ 13906 h 139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70699" h="13906">
                      <a:moveTo>
                        <a:pt x="163746" y="13906"/>
                      </a:moveTo>
                      <a:lnTo>
                        <a:pt x="6953" y="13906"/>
                      </a:lnTo>
                      <a:cubicBezTo>
                        <a:pt x="3129" y="13906"/>
                        <a:pt x="0" y="10777"/>
                        <a:pt x="0" y="6953"/>
                      </a:cubicBezTo>
                      <a:cubicBezTo>
                        <a:pt x="0" y="3129"/>
                        <a:pt x="3129" y="0"/>
                        <a:pt x="6953" y="0"/>
                      </a:cubicBezTo>
                      <a:lnTo>
                        <a:pt x="163746" y="0"/>
                      </a:lnTo>
                      <a:cubicBezTo>
                        <a:pt x="167571" y="0"/>
                        <a:pt x="170700" y="3129"/>
                        <a:pt x="170700" y="6953"/>
                      </a:cubicBezTo>
                      <a:cubicBezTo>
                        <a:pt x="170700" y="10777"/>
                        <a:pt x="167571" y="13906"/>
                        <a:pt x="163746" y="13906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ko-KR" altLang="en-US" sz="1800">
                    <a:latin typeface="+mn-ea"/>
                    <a:ea typeface="+mn-ea"/>
                  </a:endParaRPr>
                </a:p>
              </p:txBody>
            </p:sp>
          </p:grpSp>
          <p:grpSp>
            <p:nvGrpSpPr>
              <p:cNvPr id="28" name="그래픽 42">
                <a:extLst>
                  <a:ext uri="{FF2B5EF4-FFF2-40B4-BE49-F238E27FC236}">
                    <a16:creationId xmlns:a16="http://schemas.microsoft.com/office/drawing/2014/main" id="{AD729287-B921-450B-B346-602F1BD73FEE}"/>
                  </a:ext>
                </a:extLst>
              </p:cNvPr>
              <p:cNvGrpSpPr/>
              <p:nvPr/>
            </p:nvGrpSpPr>
            <p:grpSpPr>
              <a:xfrm>
                <a:off x="-1023664" y="3097141"/>
                <a:ext cx="198859" cy="198860"/>
                <a:chOff x="-1023664" y="3097141"/>
                <a:chExt cx="198859" cy="198860"/>
              </a:xfrm>
              <a:solidFill>
                <a:schemeClr val="bg1"/>
              </a:solidFill>
            </p:grpSpPr>
            <p:sp>
              <p:nvSpPr>
                <p:cNvPr id="34" name="자유형: 도형 33">
                  <a:extLst>
                    <a:ext uri="{FF2B5EF4-FFF2-40B4-BE49-F238E27FC236}">
                      <a16:creationId xmlns:a16="http://schemas.microsoft.com/office/drawing/2014/main" id="{171219C7-1797-4CFC-A456-016A96C38862}"/>
                    </a:ext>
                  </a:extLst>
                </p:cNvPr>
                <p:cNvSpPr/>
                <p:nvPr/>
              </p:nvSpPr>
              <p:spPr>
                <a:xfrm>
                  <a:off x="-1016710" y="3104094"/>
                  <a:ext cx="184953" cy="184953"/>
                </a:xfrm>
                <a:custGeom>
                  <a:avLst/>
                  <a:gdLst>
                    <a:gd name="connsiteX0" fmla="*/ 184953 w 184953"/>
                    <a:gd name="connsiteY0" fmla="*/ 92477 h 184953"/>
                    <a:gd name="connsiteX1" fmla="*/ 92477 w 184953"/>
                    <a:gd name="connsiteY1" fmla="*/ 184954 h 184953"/>
                    <a:gd name="connsiteX2" fmla="*/ 0 w 184953"/>
                    <a:gd name="connsiteY2" fmla="*/ 92477 h 184953"/>
                    <a:gd name="connsiteX3" fmla="*/ 92477 w 184953"/>
                    <a:gd name="connsiteY3" fmla="*/ 0 h 184953"/>
                    <a:gd name="connsiteX4" fmla="*/ 184953 w 184953"/>
                    <a:gd name="connsiteY4" fmla="*/ 92477 h 1849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4953" h="184953">
                      <a:moveTo>
                        <a:pt x="184953" y="92477"/>
                      </a:moveTo>
                      <a:cubicBezTo>
                        <a:pt x="184953" y="143550"/>
                        <a:pt x="143550" y="184954"/>
                        <a:pt x="92477" y="184954"/>
                      </a:cubicBezTo>
                      <a:cubicBezTo>
                        <a:pt x="41403" y="184954"/>
                        <a:pt x="0" y="143550"/>
                        <a:pt x="0" y="92477"/>
                      </a:cubicBezTo>
                      <a:cubicBezTo>
                        <a:pt x="0" y="41403"/>
                        <a:pt x="41403" y="0"/>
                        <a:pt x="92477" y="0"/>
                      </a:cubicBezTo>
                      <a:cubicBezTo>
                        <a:pt x="143550" y="0"/>
                        <a:pt x="184953" y="41403"/>
                        <a:pt x="184953" y="92477"/>
                      </a:cubicBezTo>
                      <a:close/>
                    </a:path>
                  </a:pathLst>
                </a:custGeom>
                <a:solidFill>
                  <a:srgbClr val="59E2DB"/>
                </a:solidFill>
                <a:ln w="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ko-KR" altLang="en-US" sz="1800" dirty="0">
                    <a:latin typeface="+mn-ea"/>
                    <a:ea typeface="+mn-ea"/>
                  </a:endParaRPr>
                </a:p>
              </p:txBody>
            </p:sp>
            <p:sp>
              <p:nvSpPr>
                <p:cNvPr id="35" name="자유형: 도형 34">
                  <a:extLst>
                    <a:ext uri="{FF2B5EF4-FFF2-40B4-BE49-F238E27FC236}">
                      <a16:creationId xmlns:a16="http://schemas.microsoft.com/office/drawing/2014/main" id="{527F1613-7CCF-4496-AFB1-091727E6EDE6}"/>
                    </a:ext>
                  </a:extLst>
                </p:cNvPr>
                <p:cNvSpPr/>
                <p:nvPr/>
              </p:nvSpPr>
              <p:spPr>
                <a:xfrm>
                  <a:off x="-1023664" y="3097141"/>
                  <a:ext cx="198859" cy="198860"/>
                </a:xfrm>
                <a:custGeom>
                  <a:avLst/>
                  <a:gdLst>
                    <a:gd name="connsiteX0" fmla="*/ 99430 w 198859"/>
                    <a:gd name="connsiteY0" fmla="*/ 198860 h 198860"/>
                    <a:gd name="connsiteX1" fmla="*/ 0 w 198859"/>
                    <a:gd name="connsiteY1" fmla="*/ 99430 h 198860"/>
                    <a:gd name="connsiteX2" fmla="*/ 99430 w 198859"/>
                    <a:gd name="connsiteY2" fmla="*/ 0 h 198860"/>
                    <a:gd name="connsiteX3" fmla="*/ 198860 w 198859"/>
                    <a:gd name="connsiteY3" fmla="*/ 99430 h 198860"/>
                    <a:gd name="connsiteX4" fmla="*/ 99430 w 198859"/>
                    <a:gd name="connsiteY4" fmla="*/ 198860 h 198860"/>
                    <a:gd name="connsiteX5" fmla="*/ 99430 w 198859"/>
                    <a:gd name="connsiteY5" fmla="*/ 13906 h 198860"/>
                    <a:gd name="connsiteX6" fmla="*/ 13906 w 198859"/>
                    <a:gd name="connsiteY6" fmla="*/ 99430 h 198860"/>
                    <a:gd name="connsiteX7" fmla="*/ 99430 w 198859"/>
                    <a:gd name="connsiteY7" fmla="*/ 184954 h 198860"/>
                    <a:gd name="connsiteX8" fmla="*/ 184953 w 198859"/>
                    <a:gd name="connsiteY8" fmla="*/ 99430 h 198860"/>
                    <a:gd name="connsiteX9" fmla="*/ 99430 w 198859"/>
                    <a:gd name="connsiteY9" fmla="*/ 13906 h 1988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98859" h="198860">
                      <a:moveTo>
                        <a:pt x="99430" y="198860"/>
                      </a:moveTo>
                      <a:cubicBezTo>
                        <a:pt x="44500" y="198860"/>
                        <a:pt x="0" y="154012"/>
                        <a:pt x="0" y="99430"/>
                      </a:cubicBezTo>
                      <a:cubicBezTo>
                        <a:pt x="0" y="44848"/>
                        <a:pt x="44500" y="0"/>
                        <a:pt x="99430" y="0"/>
                      </a:cubicBezTo>
                      <a:cubicBezTo>
                        <a:pt x="154360" y="0"/>
                        <a:pt x="198860" y="44500"/>
                        <a:pt x="198860" y="99430"/>
                      </a:cubicBezTo>
                      <a:cubicBezTo>
                        <a:pt x="198860" y="154360"/>
                        <a:pt x="154360" y="198860"/>
                        <a:pt x="99430" y="198860"/>
                      </a:cubicBezTo>
                      <a:close/>
                      <a:moveTo>
                        <a:pt x="99430" y="13906"/>
                      </a:moveTo>
                      <a:cubicBezTo>
                        <a:pt x="52149" y="13906"/>
                        <a:pt x="13906" y="52149"/>
                        <a:pt x="13906" y="99430"/>
                      </a:cubicBezTo>
                      <a:cubicBezTo>
                        <a:pt x="13906" y="146711"/>
                        <a:pt x="52149" y="184954"/>
                        <a:pt x="99430" y="184954"/>
                      </a:cubicBezTo>
                      <a:cubicBezTo>
                        <a:pt x="146711" y="184954"/>
                        <a:pt x="184953" y="146711"/>
                        <a:pt x="184953" y="99430"/>
                      </a:cubicBezTo>
                      <a:cubicBezTo>
                        <a:pt x="184953" y="52149"/>
                        <a:pt x="146364" y="13906"/>
                        <a:pt x="99430" y="13906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ko-KR" altLang="en-US" sz="1800">
                    <a:latin typeface="+mn-ea"/>
                    <a:ea typeface="+mn-ea"/>
                  </a:endParaRPr>
                </a:p>
              </p:txBody>
            </p:sp>
          </p:grpSp>
          <p:grpSp>
            <p:nvGrpSpPr>
              <p:cNvPr id="29" name="그래픽 42">
                <a:extLst>
                  <a:ext uri="{FF2B5EF4-FFF2-40B4-BE49-F238E27FC236}">
                    <a16:creationId xmlns:a16="http://schemas.microsoft.com/office/drawing/2014/main" id="{6683ABDB-AC6B-4366-B687-D588780D9947}"/>
                  </a:ext>
                </a:extLst>
              </p:cNvPr>
              <p:cNvGrpSpPr/>
              <p:nvPr/>
            </p:nvGrpSpPr>
            <p:grpSpPr>
              <a:xfrm>
                <a:off x="-780999" y="3212563"/>
                <a:ext cx="83437" cy="83437"/>
                <a:chOff x="-780999" y="3212563"/>
                <a:chExt cx="83437" cy="83437"/>
              </a:xfrm>
              <a:solidFill>
                <a:schemeClr val="bg1"/>
              </a:solidFill>
            </p:grpSpPr>
            <p:sp>
              <p:nvSpPr>
                <p:cNvPr id="32" name="자유형: 도형 31">
                  <a:extLst>
                    <a:ext uri="{FF2B5EF4-FFF2-40B4-BE49-F238E27FC236}">
                      <a16:creationId xmlns:a16="http://schemas.microsoft.com/office/drawing/2014/main" id="{B0DD8973-796F-46E3-B795-9AF50CDE73FB}"/>
                    </a:ext>
                  </a:extLst>
                </p:cNvPr>
                <p:cNvSpPr/>
                <p:nvPr/>
              </p:nvSpPr>
              <p:spPr>
                <a:xfrm>
                  <a:off x="-774046" y="3219517"/>
                  <a:ext cx="69531" cy="69531"/>
                </a:xfrm>
                <a:custGeom>
                  <a:avLst/>
                  <a:gdLst>
                    <a:gd name="connsiteX0" fmla="*/ 69531 w 69531"/>
                    <a:gd name="connsiteY0" fmla="*/ 34766 h 69531"/>
                    <a:gd name="connsiteX1" fmla="*/ 34766 w 69531"/>
                    <a:gd name="connsiteY1" fmla="*/ 69531 h 69531"/>
                    <a:gd name="connsiteX2" fmla="*/ 0 w 69531"/>
                    <a:gd name="connsiteY2" fmla="*/ 34766 h 69531"/>
                    <a:gd name="connsiteX3" fmla="*/ 34766 w 69531"/>
                    <a:gd name="connsiteY3" fmla="*/ 0 h 69531"/>
                    <a:gd name="connsiteX4" fmla="*/ 69531 w 69531"/>
                    <a:gd name="connsiteY4" fmla="*/ 34766 h 695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9531" h="69531">
                      <a:moveTo>
                        <a:pt x="69531" y="34766"/>
                      </a:moveTo>
                      <a:cubicBezTo>
                        <a:pt x="69531" y="53966"/>
                        <a:pt x="53966" y="69531"/>
                        <a:pt x="34766" y="69531"/>
                      </a:cubicBezTo>
                      <a:cubicBezTo>
                        <a:pt x="15565" y="69531"/>
                        <a:pt x="0" y="53966"/>
                        <a:pt x="0" y="34766"/>
                      </a:cubicBezTo>
                      <a:cubicBezTo>
                        <a:pt x="0" y="15565"/>
                        <a:pt x="15565" y="0"/>
                        <a:pt x="34766" y="0"/>
                      </a:cubicBezTo>
                      <a:cubicBezTo>
                        <a:pt x="53966" y="0"/>
                        <a:pt x="69531" y="15565"/>
                        <a:pt x="69531" y="34766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ko-KR" altLang="en-US" sz="1800">
                    <a:latin typeface="+mn-ea"/>
                    <a:ea typeface="+mn-ea"/>
                  </a:endParaRPr>
                </a:p>
              </p:txBody>
            </p:sp>
            <p:sp>
              <p:nvSpPr>
                <p:cNvPr id="33" name="자유형: 도형 32">
                  <a:extLst>
                    <a:ext uri="{FF2B5EF4-FFF2-40B4-BE49-F238E27FC236}">
                      <a16:creationId xmlns:a16="http://schemas.microsoft.com/office/drawing/2014/main" id="{AF9E21B9-6FC1-4936-828A-77ED8F8A85D2}"/>
                    </a:ext>
                  </a:extLst>
                </p:cNvPr>
                <p:cNvSpPr/>
                <p:nvPr/>
              </p:nvSpPr>
              <p:spPr>
                <a:xfrm>
                  <a:off x="-780999" y="3212563"/>
                  <a:ext cx="83437" cy="83437"/>
                </a:xfrm>
                <a:custGeom>
                  <a:avLst/>
                  <a:gdLst>
                    <a:gd name="connsiteX0" fmla="*/ 41719 w 83437"/>
                    <a:gd name="connsiteY0" fmla="*/ 83438 h 83437"/>
                    <a:gd name="connsiteX1" fmla="*/ 0 w 83437"/>
                    <a:gd name="connsiteY1" fmla="*/ 41719 h 83437"/>
                    <a:gd name="connsiteX2" fmla="*/ 41719 w 83437"/>
                    <a:gd name="connsiteY2" fmla="*/ 0 h 83437"/>
                    <a:gd name="connsiteX3" fmla="*/ 83438 w 83437"/>
                    <a:gd name="connsiteY3" fmla="*/ 41719 h 83437"/>
                    <a:gd name="connsiteX4" fmla="*/ 41719 w 83437"/>
                    <a:gd name="connsiteY4" fmla="*/ 83438 h 83437"/>
                    <a:gd name="connsiteX5" fmla="*/ 41719 w 83437"/>
                    <a:gd name="connsiteY5" fmla="*/ 13906 h 83437"/>
                    <a:gd name="connsiteX6" fmla="*/ 13906 w 83437"/>
                    <a:gd name="connsiteY6" fmla="*/ 41719 h 83437"/>
                    <a:gd name="connsiteX7" fmla="*/ 41719 w 83437"/>
                    <a:gd name="connsiteY7" fmla="*/ 69531 h 83437"/>
                    <a:gd name="connsiteX8" fmla="*/ 69531 w 83437"/>
                    <a:gd name="connsiteY8" fmla="*/ 41719 h 83437"/>
                    <a:gd name="connsiteX9" fmla="*/ 41719 w 83437"/>
                    <a:gd name="connsiteY9" fmla="*/ 13906 h 834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83437" h="83437">
                      <a:moveTo>
                        <a:pt x="41719" y="83438"/>
                      </a:moveTo>
                      <a:cubicBezTo>
                        <a:pt x="18773" y="83438"/>
                        <a:pt x="0" y="64664"/>
                        <a:pt x="0" y="41719"/>
                      </a:cubicBezTo>
                      <a:cubicBezTo>
                        <a:pt x="0" y="18773"/>
                        <a:pt x="18773" y="0"/>
                        <a:pt x="41719" y="0"/>
                      </a:cubicBezTo>
                      <a:cubicBezTo>
                        <a:pt x="64664" y="0"/>
                        <a:pt x="83438" y="18773"/>
                        <a:pt x="83438" y="41719"/>
                      </a:cubicBezTo>
                      <a:cubicBezTo>
                        <a:pt x="83090" y="64664"/>
                        <a:pt x="64664" y="83438"/>
                        <a:pt x="41719" y="83438"/>
                      </a:cubicBezTo>
                      <a:close/>
                      <a:moveTo>
                        <a:pt x="41719" y="13906"/>
                      </a:moveTo>
                      <a:cubicBezTo>
                        <a:pt x="26422" y="13906"/>
                        <a:pt x="13906" y="26422"/>
                        <a:pt x="13906" y="41719"/>
                      </a:cubicBezTo>
                      <a:cubicBezTo>
                        <a:pt x="13906" y="57016"/>
                        <a:pt x="26422" y="69531"/>
                        <a:pt x="41719" y="69531"/>
                      </a:cubicBezTo>
                      <a:cubicBezTo>
                        <a:pt x="57016" y="69531"/>
                        <a:pt x="69531" y="57016"/>
                        <a:pt x="69531" y="41719"/>
                      </a:cubicBezTo>
                      <a:cubicBezTo>
                        <a:pt x="69531" y="26422"/>
                        <a:pt x="57016" y="13906"/>
                        <a:pt x="41719" y="13906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ko-KR" altLang="en-US" sz="1800" dirty="0">
                    <a:latin typeface="+mn-ea"/>
                    <a:ea typeface="+mn-ea"/>
                  </a:endParaRPr>
                </a:p>
              </p:txBody>
            </p:sp>
          </p:grpSp>
          <p:sp>
            <p:nvSpPr>
              <p:cNvPr id="30" name="자유형: 도형 29">
                <a:extLst>
                  <a:ext uri="{FF2B5EF4-FFF2-40B4-BE49-F238E27FC236}">
                    <a16:creationId xmlns:a16="http://schemas.microsoft.com/office/drawing/2014/main" id="{07CBC7C7-4C56-493C-8941-873DDFEC00AD}"/>
                  </a:ext>
                </a:extLst>
              </p:cNvPr>
              <p:cNvSpPr/>
              <p:nvPr/>
            </p:nvSpPr>
            <p:spPr>
              <a:xfrm>
                <a:off x="-978864" y="3141904"/>
                <a:ext cx="109262" cy="108986"/>
              </a:xfrm>
              <a:custGeom>
                <a:avLst/>
                <a:gdLst>
                  <a:gd name="connsiteX0" fmla="*/ 69184 w 138367"/>
                  <a:gd name="connsiteY0" fmla="*/ 138020 h 138020"/>
                  <a:gd name="connsiteX1" fmla="*/ 0 w 138367"/>
                  <a:gd name="connsiteY1" fmla="*/ 69184 h 138020"/>
                  <a:gd name="connsiteX2" fmla="*/ 69184 w 138367"/>
                  <a:gd name="connsiteY2" fmla="*/ 0 h 138020"/>
                  <a:gd name="connsiteX3" fmla="*/ 138367 w 138367"/>
                  <a:gd name="connsiteY3" fmla="*/ 69184 h 138020"/>
                  <a:gd name="connsiteX4" fmla="*/ 69184 w 138367"/>
                  <a:gd name="connsiteY4" fmla="*/ 138020 h 138020"/>
                  <a:gd name="connsiteX5" fmla="*/ 69184 w 138367"/>
                  <a:gd name="connsiteY5" fmla="*/ 13906 h 138020"/>
                  <a:gd name="connsiteX6" fmla="*/ 13906 w 138367"/>
                  <a:gd name="connsiteY6" fmla="*/ 69184 h 138020"/>
                  <a:gd name="connsiteX7" fmla="*/ 69184 w 138367"/>
                  <a:gd name="connsiteY7" fmla="*/ 124114 h 138020"/>
                  <a:gd name="connsiteX8" fmla="*/ 124461 w 138367"/>
                  <a:gd name="connsiteY8" fmla="*/ 68836 h 138020"/>
                  <a:gd name="connsiteX9" fmla="*/ 69184 w 138367"/>
                  <a:gd name="connsiteY9" fmla="*/ 13906 h 1380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8367" h="138020">
                    <a:moveTo>
                      <a:pt x="69184" y="138020"/>
                    </a:moveTo>
                    <a:cubicBezTo>
                      <a:pt x="30941" y="138020"/>
                      <a:pt x="0" y="107078"/>
                      <a:pt x="0" y="69184"/>
                    </a:cubicBezTo>
                    <a:cubicBezTo>
                      <a:pt x="0" y="31289"/>
                      <a:pt x="30941" y="0"/>
                      <a:pt x="69184" y="0"/>
                    </a:cubicBezTo>
                    <a:cubicBezTo>
                      <a:pt x="107426" y="0"/>
                      <a:pt x="138367" y="30942"/>
                      <a:pt x="138367" y="69184"/>
                    </a:cubicBezTo>
                    <a:cubicBezTo>
                      <a:pt x="138367" y="107426"/>
                      <a:pt x="107078" y="138020"/>
                      <a:pt x="69184" y="138020"/>
                    </a:cubicBezTo>
                    <a:close/>
                    <a:moveTo>
                      <a:pt x="69184" y="13906"/>
                    </a:moveTo>
                    <a:cubicBezTo>
                      <a:pt x="38938" y="13906"/>
                      <a:pt x="13906" y="38590"/>
                      <a:pt x="13906" y="69184"/>
                    </a:cubicBezTo>
                    <a:cubicBezTo>
                      <a:pt x="13906" y="99778"/>
                      <a:pt x="38590" y="124114"/>
                      <a:pt x="69184" y="124114"/>
                    </a:cubicBezTo>
                    <a:cubicBezTo>
                      <a:pt x="99430" y="124114"/>
                      <a:pt x="124461" y="99430"/>
                      <a:pt x="124461" y="68836"/>
                    </a:cubicBezTo>
                    <a:cubicBezTo>
                      <a:pt x="124461" y="38242"/>
                      <a:pt x="99430" y="13906"/>
                      <a:pt x="69184" y="13906"/>
                    </a:cubicBezTo>
                    <a:close/>
                  </a:path>
                </a:pathLst>
              </a:custGeom>
              <a:solidFill>
                <a:schemeClr val="bg1"/>
              </a:solidFill>
              <a:ln w="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ko-KR" altLang="en-US" sz="1800">
                  <a:latin typeface="+mn-ea"/>
                  <a:ea typeface="+mn-ea"/>
                </a:endParaRPr>
              </a:p>
            </p:txBody>
          </p:sp>
          <p:sp>
            <p:nvSpPr>
              <p:cNvPr id="31" name="자유형: 도형 30">
                <a:extLst>
                  <a:ext uri="{FF2B5EF4-FFF2-40B4-BE49-F238E27FC236}">
                    <a16:creationId xmlns:a16="http://schemas.microsoft.com/office/drawing/2014/main" id="{A9C08525-AEC2-4243-BFF0-74D95D4D12AC}"/>
                  </a:ext>
                </a:extLst>
              </p:cNvPr>
              <p:cNvSpPr/>
              <p:nvPr/>
            </p:nvSpPr>
            <p:spPr>
              <a:xfrm>
                <a:off x="-762573" y="3230989"/>
                <a:ext cx="46586" cy="46586"/>
              </a:xfrm>
              <a:custGeom>
                <a:avLst/>
                <a:gdLst>
                  <a:gd name="connsiteX0" fmla="*/ 23293 w 46586"/>
                  <a:gd name="connsiteY0" fmla="*/ 46586 h 46586"/>
                  <a:gd name="connsiteX1" fmla="*/ 0 w 46586"/>
                  <a:gd name="connsiteY1" fmla="*/ 23293 h 46586"/>
                  <a:gd name="connsiteX2" fmla="*/ 23293 w 46586"/>
                  <a:gd name="connsiteY2" fmla="*/ 0 h 46586"/>
                  <a:gd name="connsiteX3" fmla="*/ 46586 w 46586"/>
                  <a:gd name="connsiteY3" fmla="*/ 23293 h 46586"/>
                  <a:gd name="connsiteX4" fmla="*/ 23293 w 46586"/>
                  <a:gd name="connsiteY4" fmla="*/ 46586 h 46586"/>
                  <a:gd name="connsiteX5" fmla="*/ 23293 w 46586"/>
                  <a:gd name="connsiteY5" fmla="*/ 13906 h 46586"/>
                  <a:gd name="connsiteX6" fmla="*/ 13906 w 46586"/>
                  <a:gd name="connsiteY6" fmla="*/ 23293 h 46586"/>
                  <a:gd name="connsiteX7" fmla="*/ 23293 w 46586"/>
                  <a:gd name="connsiteY7" fmla="*/ 32680 h 46586"/>
                  <a:gd name="connsiteX8" fmla="*/ 32680 w 46586"/>
                  <a:gd name="connsiteY8" fmla="*/ 23293 h 46586"/>
                  <a:gd name="connsiteX9" fmla="*/ 23293 w 46586"/>
                  <a:gd name="connsiteY9" fmla="*/ 13906 h 465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586" h="46586">
                    <a:moveTo>
                      <a:pt x="23293" y="46586"/>
                    </a:moveTo>
                    <a:cubicBezTo>
                      <a:pt x="10430" y="46586"/>
                      <a:pt x="0" y="36156"/>
                      <a:pt x="0" y="23293"/>
                    </a:cubicBezTo>
                    <a:cubicBezTo>
                      <a:pt x="0" y="10430"/>
                      <a:pt x="10430" y="0"/>
                      <a:pt x="23293" y="0"/>
                    </a:cubicBezTo>
                    <a:cubicBezTo>
                      <a:pt x="36156" y="0"/>
                      <a:pt x="46586" y="10430"/>
                      <a:pt x="46586" y="23293"/>
                    </a:cubicBezTo>
                    <a:cubicBezTo>
                      <a:pt x="46238" y="36156"/>
                      <a:pt x="36156" y="46586"/>
                      <a:pt x="23293" y="46586"/>
                    </a:cubicBezTo>
                    <a:close/>
                    <a:moveTo>
                      <a:pt x="23293" y="13906"/>
                    </a:moveTo>
                    <a:cubicBezTo>
                      <a:pt x="18078" y="13906"/>
                      <a:pt x="13906" y="18078"/>
                      <a:pt x="13906" y="23293"/>
                    </a:cubicBezTo>
                    <a:cubicBezTo>
                      <a:pt x="13906" y="28508"/>
                      <a:pt x="18078" y="32680"/>
                      <a:pt x="23293" y="32680"/>
                    </a:cubicBezTo>
                    <a:cubicBezTo>
                      <a:pt x="28508" y="32680"/>
                      <a:pt x="32680" y="28508"/>
                      <a:pt x="32680" y="23293"/>
                    </a:cubicBezTo>
                    <a:cubicBezTo>
                      <a:pt x="32332" y="18078"/>
                      <a:pt x="28160" y="13906"/>
                      <a:pt x="23293" y="13906"/>
                    </a:cubicBezTo>
                    <a:close/>
                  </a:path>
                </a:pathLst>
              </a:custGeom>
              <a:solidFill>
                <a:srgbClr val="59E2DB"/>
              </a:solidFill>
              <a:ln w="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ko-KR" altLang="en-US" sz="1800">
                  <a:latin typeface="+mn-ea"/>
                  <a:ea typeface="+mn-ea"/>
                </a:endParaRPr>
              </a:p>
            </p:txBody>
          </p:sp>
        </p:grpSp>
      </p:grpSp>
      <p:grpSp>
        <p:nvGrpSpPr>
          <p:cNvPr id="39" name="그룹 38">
            <a:extLst>
              <a:ext uri="{FF2B5EF4-FFF2-40B4-BE49-F238E27FC236}">
                <a16:creationId xmlns:a16="http://schemas.microsoft.com/office/drawing/2014/main" id="{83D2C5CA-DCCE-4F49-96E2-700D1879A0D7}"/>
              </a:ext>
            </a:extLst>
          </p:cNvPr>
          <p:cNvGrpSpPr/>
          <p:nvPr userDrawn="1"/>
        </p:nvGrpSpPr>
        <p:grpSpPr>
          <a:xfrm>
            <a:off x="3321595" y="4539625"/>
            <a:ext cx="659852" cy="670026"/>
            <a:chOff x="6107723" y="4291208"/>
            <a:chExt cx="670028" cy="670026"/>
          </a:xfrm>
        </p:grpSpPr>
        <p:sp>
          <p:nvSpPr>
            <p:cNvPr id="40" name="타원 39">
              <a:extLst>
                <a:ext uri="{FF2B5EF4-FFF2-40B4-BE49-F238E27FC236}">
                  <a16:creationId xmlns:a16="http://schemas.microsoft.com/office/drawing/2014/main" id="{C7F2BD24-95B0-4C1E-8500-C5A18B82F754}"/>
                </a:ext>
              </a:extLst>
            </p:cNvPr>
            <p:cNvSpPr/>
            <p:nvPr/>
          </p:nvSpPr>
          <p:spPr>
            <a:xfrm>
              <a:off x="6107723" y="4291208"/>
              <a:ext cx="670028" cy="670026"/>
            </a:xfrm>
            <a:prstGeom prst="ellipse">
              <a:avLst/>
            </a:prstGeom>
            <a:solidFill>
              <a:srgbClr val="34A1E0"/>
            </a:solidFill>
            <a:ln w="3175" cap="flat" cmpd="sng" algn="ctr">
              <a:noFill/>
              <a:prstDash val="solid"/>
              <a:round/>
              <a:headEnd w="med" len="med"/>
              <a:tailEnd w="med" len="med"/>
            </a:ln>
            <a:effectLst>
              <a:outerShdw blurRad="50800" dist="38100" dir="2700000" algn="tl" rotWithShape="0">
                <a:schemeClr val="accent5">
                  <a:lumMod val="75000"/>
                  <a:alpha val="31000"/>
                </a:schemeClr>
              </a:outerShdw>
            </a:effectLst>
          </p:spPr>
          <p:txBody>
            <a:bodyPr lIns="36000" tIns="18000" rIns="36000" bIns="18000" rtlCol="0" anchor="ctr"/>
            <a:lstStyle/>
            <a:p>
              <a:pPr algn="ctr"/>
              <a:endParaRPr lang="ko-KR" altLang="en-US" sz="2000" dirty="0">
                <a:latin typeface="+mn-ea"/>
                <a:ea typeface="+mn-ea"/>
              </a:endParaRPr>
            </a:p>
          </p:txBody>
        </p:sp>
        <p:grpSp>
          <p:nvGrpSpPr>
            <p:cNvPr id="41" name="그래픽 58">
              <a:extLst>
                <a:ext uri="{FF2B5EF4-FFF2-40B4-BE49-F238E27FC236}">
                  <a16:creationId xmlns:a16="http://schemas.microsoft.com/office/drawing/2014/main" id="{0415005B-DF1D-4908-A19C-8FD5942D5DB6}"/>
                </a:ext>
              </a:extLst>
            </p:cNvPr>
            <p:cNvGrpSpPr/>
            <p:nvPr/>
          </p:nvGrpSpPr>
          <p:grpSpPr>
            <a:xfrm>
              <a:off x="6321152" y="4461607"/>
              <a:ext cx="282244" cy="329228"/>
              <a:chOff x="6326940" y="4439070"/>
              <a:chExt cx="322208" cy="375845"/>
            </a:xfrm>
            <a:solidFill>
              <a:srgbClr val="34A1E0"/>
            </a:solidFill>
          </p:grpSpPr>
          <p:sp>
            <p:nvSpPr>
              <p:cNvPr id="42" name="자유형: 도형 41">
                <a:extLst>
                  <a:ext uri="{FF2B5EF4-FFF2-40B4-BE49-F238E27FC236}">
                    <a16:creationId xmlns:a16="http://schemas.microsoft.com/office/drawing/2014/main" id="{83742060-845A-41FB-BB24-DD823BAC7849}"/>
                  </a:ext>
                </a:extLst>
              </p:cNvPr>
              <p:cNvSpPr/>
              <p:nvPr/>
            </p:nvSpPr>
            <p:spPr>
              <a:xfrm>
                <a:off x="6326940" y="4439070"/>
                <a:ext cx="184063" cy="375845"/>
              </a:xfrm>
              <a:custGeom>
                <a:avLst/>
                <a:gdLst>
                  <a:gd name="connsiteX0" fmla="*/ 0 w 184063"/>
                  <a:gd name="connsiteY0" fmla="*/ 375845 h 375845"/>
                  <a:gd name="connsiteX1" fmla="*/ 0 w 184063"/>
                  <a:gd name="connsiteY1" fmla="*/ 0 h 375845"/>
                  <a:gd name="connsiteX2" fmla="*/ 184064 w 184063"/>
                  <a:gd name="connsiteY2" fmla="*/ 0 h 375845"/>
                  <a:gd name="connsiteX3" fmla="*/ 184064 w 184063"/>
                  <a:gd name="connsiteY3" fmla="*/ 375845 h 3758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4063" h="375845">
                    <a:moveTo>
                      <a:pt x="0" y="375845"/>
                    </a:moveTo>
                    <a:lnTo>
                      <a:pt x="0" y="0"/>
                    </a:lnTo>
                    <a:lnTo>
                      <a:pt x="184064" y="0"/>
                    </a:lnTo>
                    <a:lnTo>
                      <a:pt x="184064" y="375845"/>
                    </a:lnTo>
                  </a:path>
                </a:pathLst>
              </a:custGeom>
              <a:solidFill>
                <a:schemeClr val="bg1">
                  <a:alpha val="42000"/>
                </a:schemeClr>
              </a:solidFill>
              <a:ln w="1905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ko-KR" altLang="en-US" sz="1800">
                  <a:latin typeface="+mn-ea"/>
                  <a:ea typeface="+mn-ea"/>
                </a:endParaRPr>
              </a:p>
            </p:txBody>
          </p:sp>
          <p:sp>
            <p:nvSpPr>
              <p:cNvPr id="43" name="자유형: 도형 42">
                <a:extLst>
                  <a:ext uri="{FF2B5EF4-FFF2-40B4-BE49-F238E27FC236}">
                    <a16:creationId xmlns:a16="http://schemas.microsoft.com/office/drawing/2014/main" id="{9C189289-5B50-4E12-84EE-733B6504C41E}"/>
                  </a:ext>
                </a:extLst>
              </p:cNvPr>
              <p:cNvSpPr/>
              <p:nvPr/>
            </p:nvSpPr>
            <p:spPr>
              <a:xfrm>
                <a:off x="6326940" y="4439070"/>
                <a:ext cx="184063" cy="76403"/>
              </a:xfrm>
              <a:custGeom>
                <a:avLst/>
                <a:gdLst>
                  <a:gd name="connsiteX0" fmla="*/ 0 w 184063"/>
                  <a:gd name="connsiteY0" fmla="*/ 0 h 76403"/>
                  <a:gd name="connsiteX1" fmla="*/ 184064 w 184063"/>
                  <a:gd name="connsiteY1" fmla="*/ 0 h 76403"/>
                  <a:gd name="connsiteX2" fmla="*/ 184064 w 184063"/>
                  <a:gd name="connsiteY2" fmla="*/ 76404 h 76403"/>
                  <a:gd name="connsiteX3" fmla="*/ 0 w 184063"/>
                  <a:gd name="connsiteY3" fmla="*/ 76404 h 764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4063" h="76403">
                    <a:moveTo>
                      <a:pt x="0" y="0"/>
                    </a:moveTo>
                    <a:lnTo>
                      <a:pt x="184064" y="0"/>
                    </a:lnTo>
                    <a:lnTo>
                      <a:pt x="184064" y="76404"/>
                    </a:lnTo>
                    <a:lnTo>
                      <a:pt x="0" y="76404"/>
                    </a:lnTo>
                    <a:close/>
                  </a:path>
                </a:pathLst>
              </a:custGeom>
              <a:solidFill>
                <a:srgbClr val="34A1E0"/>
              </a:solidFill>
              <a:ln w="1905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ko-KR" altLang="en-US" sz="1800">
                  <a:latin typeface="+mn-ea"/>
                  <a:ea typeface="+mn-ea"/>
                </a:endParaRPr>
              </a:p>
            </p:txBody>
          </p:sp>
          <p:sp>
            <p:nvSpPr>
              <p:cNvPr id="44" name="자유형: 도형 43">
                <a:extLst>
                  <a:ext uri="{FF2B5EF4-FFF2-40B4-BE49-F238E27FC236}">
                    <a16:creationId xmlns:a16="http://schemas.microsoft.com/office/drawing/2014/main" id="{B26C60EC-53D0-4E69-8475-4FF893623605}"/>
                  </a:ext>
                </a:extLst>
              </p:cNvPr>
              <p:cNvSpPr/>
              <p:nvPr/>
            </p:nvSpPr>
            <p:spPr>
              <a:xfrm>
                <a:off x="6326940" y="4456820"/>
                <a:ext cx="184063" cy="179819"/>
              </a:xfrm>
              <a:custGeom>
                <a:avLst/>
                <a:gdLst>
                  <a:gd name="connsiteX0" fmla="*/ 184064 w 184063"/>
                  <a:gd name="connsiteY0" fmla="*/ 139302 h 179819"/>
                  <a:gd name="connsiteX1" fmla="*/ 0 w 184063"/>
                  <a:gd name="connsiteY1" fmla="*/ 179819 h 179819"/>
                  <a:gd name="connsiteX2" fmla="*/ 0 w 184063"/>
                  <a:gd name="connsiteY2" fmla="*/ 44762 h 179819"/>
                  <a:gd name="connsiteX3" fmla="*/ 184064 w 184063"/>
                  <a:gd name="connsiteY3" fmla="*/ 0 h 179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4063" h="179819">
                    <a:moveTo>
                      <a:pt x="184064" y="139302"/>
                    </a:moveTo>
                    <a:lnTo>
                      <a:pt x="0" y="179819"/>
                    </a:lnTo>
                    <a:lnTo>
                      <a:pt x="0" y="44762"/>
                    </a:lnTo>
                    <a:lnTo>
                      <a:pt x="184064" y="0"/>
                    </a:lnTo>
                    <a:close/>
                  </a:path>
                </a:pathLst>
              </a:custGeom>
              <a:solidFill>
                <a:srgbClr val="34A1E0"/>
              </a:solidFill>
              <a:ln w="1905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ko-KR" altLang="en-US" sz="1800">
                  <a:latin typeface="+mn-ea"/>
                  <a:ea typeface="+mn-ea"/>
                </a:endParaRPr>
              </a:p>
            </p:txBody>
          </p:sp>
          <p:sp>
            <p:nvSpPr>
              <p:cNvPr id="45" name="자유형: 도형 44">
                <a:extLst>
                  <a:ext uri="{FF2B5EF4-FFF2-40B4-BE49-F238E27FC236}">
                    <a16:creationId xmlns:a16="http://schemas.microsoft.com/office/drawing/2014/main" id="{4A636317-FDBF-451A-AE7B-02E1278DA8F8}"/>
                  </a:ext>
                </a:extLst>
              </p:cNvPr>
              <p:cNvSpPr/>
              <p:nvPr/>
            </p:nvSpPr>
            <p:spPr>
              <a:xfrm>
                <a:off x="6326940" y="4590720"/>
                <a:ext cx="215320" cy="179819"/>
              </a:xfrm>
              <a:custGeom>
                <a:avLst/>
                <a:gdLst>
                  <a:gd name="connsiteX0" fmla="*/ 215320 w 215320"/>
                  <a:gd name="connsiteY0" fmla="*/ 135057 h 179819"/>
                  <a:gd name="connsiteX1" fmla="*/ 0 w 215320"/>
                  <a:gd name="connsiteY1" fmla="*/ 179819 h 179819"/>
                  <a:gd name="connsiteX2" fmla="*/ 0 w 215320"/>
                  <a:gd name="connsiteY2" fmla="*/ 44762 h 179819"/>
                  <a:gd name="connsiteX3" fmla="*/ 215320 w 215320"/>
                  <a:gd name="connsiteY3" fmla="*/ 0 h 179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5320" h="179819">
                    <a:moveTo>
                      <a:pt x="215320" y="135057"/>
                    </a:moveTo>
                    <a:lnTo>
                      <a:pt x="0" y="179819"/>
                    </a:lnTo>
                    <a:lnTo>
                      <a:pt x="0" y="44762"/>
                    </a:lnTo>
                    <a:lnTo>
                      <a:pt x="215320" y="0"/>
                    </a:lnTo>
                    <a:close/>
                  </a:path>
                </a:pathLst>
              </a:custGeom>
              <a:solidFill>
                <a:srgbClr val="34A1E0"/>
              </a:solidFill>
              <a:ln w="1905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ko-KR" altLang="en-US" sz="1800">
                  <a:latin typeface="+mn-ea"/>
                  <a:ea typeface="+mn-ea"/>
                </a:endParaRPr>
              </a:p>
            </p:txBody>
          </p:sp>
          <p:grpSp>
            <p:nvGrpSpPr>
              <p:cNvPr id="46" name="그래픽 58">
                <a:extLst>
                  <a:ext uri="{FF2B5EF4-FFF2-40B4-BE49-F238E27FC236}">
                    <a16:creationId xmlns:a16="http://schemas.microsoft.com/office/drawing/2014/main" id="{593085E2-EE7B-4222-AAB0-F9C985A1FEE8}"/>
                  </a:ext>
                </a:extLst>
              </p:cNvPr>
              <p:cNvGrpSpPr/>
              <p:nvPr/>
            </p:nvGrpSpPr>
            <p:grpSpPr>
              <a:xfrm>
                <a:off x="6539559" y="4569496"/>
                <a:ext cx="109589" cy="195640"/>
                <a:chOff x="6539559" y="4569496"/>
                <a:chExt cx="109589" cy="195640"/>
              </a:xfrm>
              <a:solidFill>
                <a:srgbClr val="34A1E0"/>
              </a:solidFill>
            </p:grpSpPr>
            <p:sp>
              <p:nvSpPr>
                <p:cNvPr id="47" name="자유형: 도형 46">
                  <a:extLst>
                    <a:ext uri="{FF2B5EF4-FFF2-40B4-BE49-F238E27FC236}">
                      <a16:creationId xmlns:a16="http://schemas.microsoft.com/office/drawing/2014/main" id="{913AB919-AADA-46DB-9D5D-59DE42E13C4B}"/>
                    </a:ext>
                  </a:extLst>
                </p:cNvPr>
                <p:cNvSpPr/>
                <p:nvPr/>
              </p:nvSpPr>
              <p:spPr>
                <a:xfrm>
                  <a:off x="6539559" y="4598051"/>
                  <a:ext cx="109589" cy="167085"/>
                </a:xfrm>
                <a:custGeom>
                  <a:avLst/>
                  <a:gdLst>
                    <a:gd name="connsiteX0" fmla="*/ 0 w 109589"/>
                    <a:gd name="connsiteY0" fmla="*/ 0 h 167085"/>
                    <a:gd name="connsiteX1" fmla="*/ 0 w 109589"/>
                    <a:gd name="connsiteY1" fmla="*/ 141617 h 167085"/>
                    <a:gd name="connsiteX2" fmla="*/ 386 w 109589"/>
                    <a:gd name="connsiteY2" fmla="*/ 141617 h 167085"/>
                    <a:gd name="connsiteX3" fmla="*/ 54795 w 109589"/>
                    <a:gd name="connsiteY3" fmla="*/ 167085 h 167085"/>
                    <a:gd name="connsiteX4" fmla="*/ 109204 w 109589"/>
                    <a:gd name="connsiteY4" fmla="*/ 141617 h 167085"/>
                    <a:gd name="connsiteX5" fmla="*/ 109589 w 109589"/>
                    <a:gd name="connsiteY5" fmla="*/ 141617 h 167085"/>
                    <a:gd name="connsiteX6" fmla="*/ 109589 w 109589"/>
                    <a:gd name="connsiteY6" fmla="*/ 0 h 167085"/>
                    <a:gd name="connsiteX7" fmla="*/ 0 w 109589"/>
                    <a:gd name="connsiteY7" fmla="*/ 0 h 1670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9589" h="167085">
                      <a:moveTo>
                        <a:pt x="0" y="0"/>
                      </a:moveTo>
                      <a:lnTo>
                        <a:pt x="0" y="141617"/>
                      </a:lnTo>
                      <a:lnTo>
                        <a:pt x="386" y="141617"/>
                      </a:lnTo>
                      <a:cubicBezTo>
                        <a:pt x="3473" y="155895"/>
                        <a:pt x="26626" y="167085"/>
                        <a:pt x="54795" y="167085"/>
                      </a:cubicBezTo>
                      <a:cubicBezTo>
                        <a:pt x="82964" y="167085"/>
                        <a:pt x="106116" y="155895"/>
                        <a:pt x="109204" y="141617"/>
                      </a:cubicBezTo>
                      <a:lnTo>
                        <a:pt x="109589" y="141617"/>
                      </a:lnTo>
                      <a:lnTo>
                        <a:pt x="109589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34A1E0"/>
                </a:solidFill>
                <a:ln w="19050" cap="rnd">
                  <a:solidFill>
                    <a:schemeClr val="bg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ko-KR" altLang="en-US" sz="1800">
                    <a:latin typeface="+mn-ea"/>
                    <a:ea typeface="+mn-ea"/>
                  </a:endParaRPr>
                </a:p>
              </p:txBody>
            </p:sp>
            <p:sp>
              <p:nvSpPr>
                <p:cNvPr id="48" name="자유형: 도형 47">
                  <a:extLst>
                    <a:ext uri="{FF2B5EF4-FFF2-40B4-BE49-F238E27FC236}">
                      <a16:creationId xmlns:a16="http://schemas.microsoft.com/office/drawing/2014/main" id="{20D381E6-8D29-4542-B241-CCFECE759D96}"/>
                    </a:ext>
                  </a:extLst>
                </p:cNvPr>
                <p:cNvSpPr/>
                <p:nvPr/>
              </p:nvSpPr>
              <p:spPr>
                <a:xfrm>
                  <a:off x="6539559" y="4569496"/>
                  <a:ext cx="109589" cy="57109"/>
                </a:xfrm>
                <a:custGeom>
                  <a:avLst/>
                  <a:gdLst>
                    <a:gd name="connsiteX0" fmla="*/ 109589 w 109589"/>
                    <a:gd name="connsiteY0" fmla="*/ 28555 h 57109"/>
                    <a:gd name="connsiteX1" fmla="*/ 54795 w 109589"/>
                    <a:gd name="connsiteY1" fmla="*/ 57110 h 57109"/>
                    <a:gd name="connsiteX2" fmla="*/ 0 w 109589"/>
                    <a:gd name="connsiteY2" fmla="*/ 28555 h 57109"/>
                    <a:gd name="connsiteX3" fmla="*/ 54795 w 109589"/>
                    <a:gd name="connsiteY3" fmla="*/ 0 h 57109"/>
                    <a:gd name="connsiteX4" fmla="*/ 109589 w 109589"/>
                    <a:gd name="connsiteY4" fmla="*/ 28555 h 571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9589" h="57109">
                      <a:moveTo>
                        <a:pt x="109589" y="28555"/>
                      </a:moveTo>
                      <a:cubicBezTo>
                        <a:pt x="109589" y="44325"/>
                        <a:pt x="85057" y="57110"/>
                        <a:pt x="54795" y="57110"/>
                      </a:cubicBezTo>
                      <a:cubicBezTo>
                        <a:pt x="24532" y="57110"/>
                        <a:pt x="0" y="44325"/>
                        <a:pt x="0" y="28555"/>
                      </a:cubicBezTo>
                      <a:cubicBezTo>
                        <a:pt x="0" y="12785"/>
                        <a:pt x="24532" y="0"/>
                        <a:pt x="54795" y="0"/>
                      </a:cubicBezTo>
                      <a:cubicBezTo>
                        <a:pt x="85057" y="0"/>
                        <a:pt x="109589" y="12784"/>
                        <a:pt x="109589" y="28555"/>
                      </a:cubicBezTo>
                      <a:close/>
                    </a:path>
                  </a:pathLst>
                </a:custGeom>
                <a:solidFill>
                  <a:srgbClr val="34A1E0"/>
                </a:solidFill>
                <a:ln w="19050" cap="rnd">
                  <a:solidFill>
                    <a:schemeClr val="bg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ko-KR" altLang="en-US" sz="1800">
                    <a:latin typeface="+mn-ea"/>
                    <a:ea typeface="+mn-ea"/>
                  </a:endParaRPr>
                </a:p>
              </p:txBody>
            </p:sp>
          </p:grpSp>
        </p:grpSp>
      </p:grpSp>
      <p:pic>
        <p:nvPicPr>
          <p:cNvPr id="50" name="그래픽 3">
            <a:extLst>
              <a:ext uri="{FF2B5EF4-FFF2-40B4-BE49-F238E27FC236}">
                <a16:creationId xmlns:a16="http://schemas.microsoft.com/office/drawing/2014/main" id="{D36B5275-A46F-45DA-96EC-7589B5D7CC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r="40428" b="-26173"/>
          <a:stretch/>
        </p:blipFill>
        <p:spPr>
          <a:xfrm>
            <a:off x="10525125" y="6153150"/>
            <a:ext cx="1306167" cy="359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5459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그림 5">
            <a:extLst>
              <a:ext uri="{FF2B5EF4-FFF2-40B4-BE49-F238E27FC236}">
                <a16:creationId xmlns:a16="http://schemas.microsoft.com/office/drawing/2014/main" id="{B105E686-766F-49B1-B451-43CD48B0D6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016" y="668"/>
            <a:ext cx="12190985" cy="6857332"/>
          </a:xfrm>
          <a:prstGeom prst="rect">
            <a:avLst/>
          </a:prstGeom>
        </p:spPr>
      </p:pic>
      <p:sp>
        <p:nvSpPr>
          <p:cNvPr id="2" name="직사각형 1">
            <a:extLst>
              <a:ext uri="{FF2B5EF4-FFF2-40B4-BE49-F238E27FC236}">
                <a16:creationId xmlns:a16="http://schemas.microsoft.com/office/drawing/2014/main" id="{35B5DD4C-5BF3-4C58-8FF5-7DB51FB26834}"/>
              </a:ext>
            </a:extLst>
          </p:cNvPr>
          <p:cNvSpPr/>
          <p:nvPr userDrawn="1"/>
        </p:nvSpPr>
        <p:spPr>
          <a:xfrm>
            <a:off x="0" y="0"/>
            <a:ext cx="12190983" cy="6858000"/>
          </a:xfrm>
          <a:prstGeom prst="rect">
            <a:avLst/>
          </a:prstGeom>
          <a:solidFill>
            <a:srgbClr val="DCEEFF"/>
          </a:solidFill>
          <a:ln w="317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endParaRPr lang="ko-KR" altLang="en-US" sz="20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pic>
        <p:nvPicPr>
          <p:cNvPr id="4" name="그래픽 3">
            <a:extLst>
              <a:ext uri="{FF2B5EF4-FFF2-40B4-BE49-F238E27FC236}">
                <a16:creationId xmlns:a16="http://schemas.microsoft.com/office/drawing/2014/main" id="{48447BEA-2E47-47AE-A63B-5C177AF76E6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160369" y="290628"/>
            <a:ext cx="688731" cy="604721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A9769B4D-0842-82D3-3000-041CFA27063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62605" y="588692"/>
            <a:ext cx="9333945" cy="608833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4D63E34-7949-411B-B203-FC2DCBE733F4}"/>
              </a:ext>
            </a:extLst>
          </p:cNvPr>
          <p:cNvSpPr txBox="1"/>
          <p:nvPr userDrawn="1"/>
        </p:nvSpPr>
        <p:spPr>
          <a:xfrm>
            <a:off x="3143672" y="2564904"/>
            <a:ext cx="599728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9600" b="1" u="none" strike="noStrike" kern="0" cap="none" spc="0" normalizeH="0" baseline="0" noProof="0">
                <a:ln>
                  <a:solidFill>
                    <a:srgbClr val="F36622">
                      <a:alpha val="0"/>
                    </a:srgbClr>
                  </a:solidFill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나눔바른고딕" panose="020B0603020101020101" pitchFamily="50" charset="-127"/>
                <a:cs typeface="Arial" panose="020B0604020202020204" pitchFamily="34" charset="0"/>
              </a:rPr>
              <a:t>I</a:t>
            </a:r>
            <a:endParaRPr lang="ko-KR" altLang="en-US" sz="11500"/>
          </a:p>
        </p:txBody>
      </p:sp>
      <p:sp>
        <p:nvSpPr>
          <p:cNvPr id="5" name="제목 4">
            <a:extLst>
              <a:ext uri="{FF2B5EF4-FFF2-40B4-BE49-F238E27FC236}">
                <a16:creationId xmlns:a16="http://schemas.microsoft.com/office/drawing/2014/main" id="{2B7E251B-3E36-4E04-820C-7B82D15096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888" y="2624549"/>
            <a:ext cx="5545831" cy="1608902"/>
          </a:xfrm>
        </p:spPr>
        <p:txBody>
          <a:bodyPr vert="horz" wrap="square" lIns="91440" tIns="45720" rIns="91440" bIns="45720" rtlCol="0" anchor="ctr">
            <a:spAutoFit/>
          </a:bodyPr>
          <a:lstStyle>
            <a:lvl1pPr>
              <a:defRPr lang="ko-KR" altLang="en-US" sz="5400" b="1">
                <a:cs typeface="+mn-cs"/>
              </a:defRPr>
            </a:lvl1pPr>
          </a:lstStyle>
          <a:p>
            <a:pPr marL="0" lvl="0" indent="0" algn="ctr" fontAlgn="auto">
              <a:spcBef>
                <a:spcPts val="813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ko-KR" altLang="en-US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11957254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그림 5">
            <a:extLst>
              <a:ext uri="{FF2B5EF4-FFF2-40B4-BE49-F238E27FC236}">
                <a16:creationId xmlns:a16="http://schemas.microsoft.com/office/drawing/2014/main" id="{B105E686-766F-49B1-B451-43CD48B0D6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016" y="668"/>
            <a:ext cx="12190985" cy="6857332"/>
          </a:xfrm>
          <a:prstGeom prst="rect">
            <a:avLst/>
          </a:prstGeom>
        </p:spPr>
      </p:pic>
      <p:sp>
        <p:nvSpPr>
          <p:cNvPr id="2" name="직사각형 1">
            <a:extLst>
              <a:ext uri="{FF2B5EF4-FFF2-40B4-BE49-F238E27FC236}">
                <a16:creationId xmlns:a16="http://schemas.microsoft.com/office/drawing/2014/main" id="{35B5DD4C-5BF3-4C58-8FF5-7DB51FB26834}"/>
              </a:ext>
            </a:extLst>
          </p:cNvPr>
          <p:cNvSpPr/>
          <p:nvPr userDrawn="1"/>
        </p:nvSpPr>
        <p:spPr>
          <a:xfrm>
            <a:off x="0" y="0"/>
            <a:ext cx="12190983" cy="6858000"/>
          </a:xfrm>
          <a:prstGeom prst="rect">
            <a:avLst/>
          </a:prstGeom>
          <a:solidFill>
            <a:srgbClr val="DCEEFF"/>
          </a:solidFill>
          <a:ln w="317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endParaRPr lang="ko-KR" altLang="en-US" sz="20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pic>
        <p:nvPicPr>
          <p:cNvPr id="4" name="그래픽 3">
            <a:extLst>
              <a:ext uri="{FF2B5EF4-FFF2-40B4-BE49-F238E27FC236}">
                <a16:creationId xmlns:a16="http://schemas.microsoft.com/office/drawing/2014/main" id="{48447BEA-2E47-47AE-A63B-5C177AF76E6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160369" y="290628"/>
            <a:ext cx="688731" cy="604721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A9769B4D-0842-82D3-3000-041CFA27063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62605" y="588692"/>
            <a:ext cx="9333945" cy="608833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4D63E34-7949-411B-B203-FC2DCBE733F4}"/>
              </a:ext>
            </a:extLst>
          </p:cNvPr>
          <p:cNvSpPr txBox="1"/>
          <p:nvPr userDrawn="1"/>
        </p:nvSpPr>
        <p:spPr>
          <a:xfrm>
            <a:off x="3143672" y="2564904"/>
            <a:ext cx="599728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9600" b="1" u="none" strike="noStrike" kern="0" cap="none" spc="0" normalizeH="0" baseline="0" noProof="0">
                <a:ln>
                  <a:solidFill>
                    <a:srgbClr val="F36622">
                      <a:alpha val="0"/>
                    </a:srgbClr>
                  </a:solidFill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나눔바른고딕" panose="020B0603020101020101" pitchFamily="50" charset="-127"/>
                <a:cs typeface="Arial" panose="020B0604020202020204" pitchFamily="34" charset="0"/>
              </a:rPr>
              <a:t>Ⅱ</a:t>
            </a:r>
            <a:endParaRPr lang="ko-KR" altLang="en-US" sz="11500"/>
          </a:p>
        </p:txBody>
      </p:sp>
      <p:sp>
        <p:nvSpPr>
          <p:cNvPr id="9" name="제목 4">
            <a:extLst>
              <a:ext uri="{FF2B5EF4-FFF2-40B4-BE49-F238E27FC236}">
                <a16:creationId xmlns:a16="http://schemas.microsoft.com/office/drawing/2014/main" id="{9F4DD705-3CA0-48D9-8304-858B7FF1FD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888" y="2624549"/>
            <a:ext cx="5545831" cy="1608902"/>
          </a:xfrm>
        </p:spPr>
        <p:txBody>
          <a:bodyPr vert="horz" wrap="square" lIns="91440" tIns="45720" rIns="91440" bIns="45720" rtlCol="0" anchor="ctr">
            <a:spAutoFit/>
          </a:bodyPr>
          <a:lstStyle>
            <a:lvl1pPr>
              <a:defRPr lang="ko-KR" altLang="en-US" sz="5400" b="1">
                <a:cs typeface="+mn-cs"/>
              </a:defRPr>
            </a:lvl1pPr>
          </a:lstStyle>
          <a:p>
            <a:pPr marL="0" lvl="0" indent="0" algn="ctr" fontAlgn="auto">
              <a:spcBef>
                <a:spcPts val="813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ko-KR" altLang="en-US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27111399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그림 5">
            <a:extLst>
              <a:ext uri="{FF2B5EF4-FFF2-40B4-BE49-F238E27FC236}">
                <a16:creationId xmlns:a16="http://schemas.microsoft.com/office/drawing/2014/main" id="{B105E686-766F-49B1-B451-43CD48B0D6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016" y="668"/>
            <a:ext cx="12190985" cy="6857332"/>
          </a:xfrm>
          <a:prstGeom prst="rect">
            <a:avLst/>
          </a:prstGeom>
        </p:spPr>
      </p:pic>
      <p:sp>
        <p:nvSpPr>
          <p:cNvPr id="2" name="직사각형 1">
            <a:extLst>
              <a:ext uri="{FF2B5EF4-FFF2-40B4-BE49-F238E27FC236}">
                <a16:creationId xmlns:a16="http://schemas.microsoft.com/office/drawing/2014/main" id="{35B5DD4C-5BF3-4C58-8FF5-7DB51FB26834}"/>
              </a:ext>
            </a:extLst>
          </p:cNvPr>
          <p:cNvSpPr/>
          <p:nvPr userDrawn="1"/>
        </p:nvSpPr>
        <p:spPr>
          <a:xfrm>
            <a:off x="0" y="0"/>
            <a:ext cx="12190983" cy="6858000"/>
          </a:xfrm>
          <a:prstGeom prst="rect">
            <a:avLst/>
          </a:prstGeom>
          <a:solidFill>
            <a:srgbClr val="DCEEFF"/>
          </a:solidFill>
          <a:ln w="317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endParaRPr lang="ko-KR" altLang="en-US" sz="20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pic>
        <p:nvPicPr>
          <p:cNvPr id="4" name="그래픽 3">
            <a:extLst>
              <a:ext uri="{FF2B5EF4-FFF2-40B4-BE49-F238E27FC236}">
                <a16:creationId xmlns:a16="http://schemas.microsoft.com/office/drawing/2014/main" id="{48447BEA-2E47-47AE-A63B-5C177AF76E6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160369" y="290628"/>
            <a:ext cx="688731" cy="604721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A9769B4D-0842-82D3-3000-041CFA27063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62605" y="588692"/>
            <a:ext cx="9333945" cy="608833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4D63E34-7949-411B-B203-FC2DCBE733F4}"/>
              </a:ext>
            </a:extLst>
          </p:cNvPr>
          <p:cNvSpPr txBox="1"/>
          <p:nvPr userDrawn="1"/>
        </p:nvSpPr>
        <p:spPr>
          <a:xfrm>
            <a:off x="3143672" y="2564904"/>
            <a:ext cx="599728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9600" b="1" u="none" strike="noStrike" kern="0" cap="none" spc="0" normalizeH="0" baseline="0" noProof="0">
                <a:ln>
                  <a:solidFill>
                    <a:srgbClr val="F36622">
                      <a:alpha val="0"/>
                    </a:srgbClr>
                  </a:solidFill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나눔바른고딕" panose="020B0603020101020101" pitchFamily="50" charset="-127"/>
                <a:cs typeface="Arial" panose="020B0604020202020204" pitchFamily="34" charset="0"/>
              </a:rPr>
              <a:t>Ⅲ</a:t>
            </a:r>
            <a:endParaRPr lang="ko-KR" altLang="en-US" sz="11500"/>
          </a:p>
        </p:txBody>
      </p:sp>
      <p:sp>
        <p:nvSpPr>
          <p:cNvPr id="9" name="제목 4">
            <a:extLst>
              <a:ext uri="{FF2B5EF4-FFF2-40B4-BE49-F238E27FC236}">
                <a16:creationId xmlns:a16="http://schemas.microsoft.com/office/drawing/2014/main" id="{1AA9FA47-42A6-423E-9DD2-1CA47E90E2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888" y="2624549"/>
            <a:ext cx="5545831" cy="1608902"/>
          </a:xfrm>
        </p:spPr>
        <p:txBody>
          <a:bodyPr vert="horz" wrap="square" lIns="91440" tIns="45720" rIns="91440" bIns="45720" rtlCol="0" anchor="ctr">
            <a:spAutoFit/>
          </a:bodyPr>
          <a:lstStyle>
            <a:lvl1pPr>
              <a:defRPr lang="ko-KR" altLang="en-US" sz="5400" b="1">
                <a:cs typeface="+mn-cs"/>
              </a:defRPr>
            </a:lvl1pPr>
          </a:lstStyle>
          <a:p>
            <a:pPr marL="0" lvl="0" indent="0" algn="ctr" fontAlgn="auto">
              <a:spcBef>
                <a:spcPts val="813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ko-KR" altLang="en-US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4004585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그림 5">
            <a:extLst>
              <a:ext uri="{FF2B5EF4-FFF2-40B4-BE49-F238E27FC236}">
                <a16:creationId xmlns:a16="http://schemas.microsoft.com/office/drawing/2014/main" id="{B105E686-766F-49B1-B451-43CD48B0D6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016" y="668"/>
            <a:ext cx="12190985" cy="6857332"/>
          </a:xfrm>
          <a:prstGeom prst="rect">
            <a:avLst/>
          </a:prstGeom>
        </p:spPr>
      </p:pic>
      <p:sp>
        <p:nvSpPr>
          <p:cNvPr id="2" name="직사각형 1">
            <a:extLst>
              <a:ext uri="{FF2B5EF4-FFF2-40B4-BE49-F238E27FC236}">
                <a16:creationId xmlns:a16="http://schemas.microsoft.com/office/drawing/2014/main" id="{35B5DD4C-5BF3-4C58-8FF5-7DB51FB26834}"/>
              </a:ext>
            </a:extLst>
          </p:cNvPr>
          <p:cNvSpPr/>
          <p:nvPr userDrawn="1"/>
        </p:nvSpPr>
        <p:spPr>
          <a:xfrm>
            <a:off x="0" y="0"/>
            <a:ext cx="12190983" cy="6858000"/>
          </a:xfrm>
          <a:prstGeom prst="rect">
            <a:avLst/>
          </a:prstGeom>
          <a:solidFill>
            <a:srgbClr val="DCEEFF"/>
          </a:solidFill>
          <a:ln w="317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endParaRPr lang="ko-KR" altLang="en-US" sz="20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pic>
        <p:nvPicPr>
          <p:cNvPr id="4" name="그래픽 3">
            <a:extLst>
              <a:ext uri="{FF2B5EF4-FFF2-40B4-BE49-F238E27FC236}">
                <a16:creationId xmlns:a16="http://schemas.microsoft.com/office/drawing/2014/main" id="{48447BEA-2E47-47AE-A63B-5C177AF76E6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160369" y="290628"/>
            <a:ext cx="688731" cy="604721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A9769B4D-0842-82D3-3000-041CFA27063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62605" y="588692"/>
            <a:ext cx="9333945" cy="608833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4D63E34-7949-411B-B203-FC2DCBE733F4}"/>
              </a:ext>
            </a:extLst>
          </p:cNvPr>
          <p:cNvSpPr txBox="1"/>
          <p:nvPr userDrawn="1"/>
        </p:nvSpPr>
        <p:spPr>
          <a:xfrm>
            <a:off x="3143672" y="2564904"/>
            <a:ext cx="599728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9600" b="1" u="none" strike="noStrike" kern="0" cap="none" spc="0" normalizeH="0" baseline="0" noProof="0">
                <a:ln>
                  <a:solidFill>
                    <a:srgbClr val="F36622">
                      <a:alpha val="0"/>
                    </a:srgbClr>
                  </a:solidFill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나눔바른고딕" panose="020B0603020101020101" pitchFamily="50" charset="-127"/>
                <a:cs typeface="Arial" panose="020B0604020202020204" pitchFamily="34" charset="0"/>
              </a:rPr>
              <a:t>Ⅳ</a:t>
            </a:r>
            <a:endParaRPr lang="ko-KR" altLang="en-US" sz="11500"/>
          </a:p>
        </p:txBody>
      </p:sp>
      <p:sp>
        <p:nvSpPr>
          <p:cNvPr id="9" name="제목 4">
            <a:extLst>
              <a:ext uri="{FF2B5EF4-FFF2-40B4-BE49-F238E27FC236}">
                <a16:creationId xmlns:a16="http://schemas.microsoft.com/office/drawing/2014/main" id="{7528E2FA-9C14-432B-AD86-7B3BB53DA8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888" y="2624549"/>
            <a:ext cx="5545831" cy="1608902"/>
          </a:xfrm>
        </p:spPr>
        <p:txBody>
          <a:bodyPr vert="horz" wrap="square" lIns="91440" tIns="45720" rIns="91440" bIns="45720" rtlCol="0" anchor="ctr">
            <a:spAutoFit/>
          </a:bodyPr>
          <a:lstStyle>
            <a:lvl1pPr>
              <a:defRPr lang="ko-KR" altLang="en-US" sz="5400" b="1">
                <a:cs typeface="+mn-cs"/>
              </a:defRPr>
            </a:lvl1pPr>
          </a:lstStyle>
          <a:p>
            <a:pPr marL="0" lvl="0" indent="0" algn="ctr" fontAlgn="auto">
              <a:spcBef>
                <a:spcPts val="813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ko-KR" altLang="en-US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9923174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그림 5">
            <a:extLst>
              <a:ext uri="{FF2B5EF4-FFF2-40B4-BE49-F238E27FC236}">
                <a16:creationId xmlns:a16="http://schemas.microsoft.com/office/drawing/2014/main" id="{B105E686-766F-49B1-B451-43CD48B0D6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016" y="668"/>
            <a:ext cx="12190985" cy="6857332"/>
          </a:xfrm>
          <a:prstGeom prst="rect">
            <a:avLst/>
          </a:prstGeom>
        </p:spPr>
      </p:pic>
      <p:sp>
        <p:nvSpPr>
          <p:cNvPr id="2" name="직사각형 1">
            <a:extLst>
              <a:ext uri="{FF2B5EF4-FFF2-40B4-BE49-F238E27FC236}">
                <a16:creationId xmlns:a16="http://schemas.microsoft.com/office/drawing/2014/main" id="{35B5DD4C-5BF3-4C58-8FF5-7DB51FB26834}"/>
              </a:ext>
            </a:extLst>
          </p:cNvPr>
          <p:cNvSpPr/>
          <p:nvPr userDrawn="1"/>
        </p:nvSpPr>
        <p:spPr>
          <a:xfrm>
            <a:off x="0" y="0"/>
            <a:ext cx="12190983" cy="6858000"/>
          </a:xfrm>
          <a:prstGeom prst="rect">
            <a:avLst/>
          </a:prstGeom>
          <a:solidFill>
            <a:srgbClr val="DCEEFF"/>
          </a:solidFill>
          <a:ln w="317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endParaRPr lang="ko-KR" altLang="en-US" sz="20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pic>
        <p:nvPicPr>
          <p:cNvPr id="4" name="그래픽 3">
            <a:extLst>
              <a:ext uri="{FF2B5EF4-FFF2-40B4-BE49-F238E27FC236}">
                <a16:creationId xmlns:a16="http://schemas.microsoft.com/office/drawing/2014/main" id="{48447BEA-2E47-47AE-A63B-5C177AF76E6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160369" y="290628"/>
            <a:ext cx="688731" cy="604721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A9769B4D-0842-82D3-3000-041CFA27063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62605" y="588692"/>
            <a:ext cx="9333945" cy="608833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4D63E34-7949-411B-B203-FC2DCBE733F4}"/>
              </a:ext>
            </a:extLst>
          </p:cNvPr>
          <p:cNvSpPr txBox="1"/>
          <p:nvPr userDrawn="1"/>
        </p:nvSpPr>
        <p:spPr>
          <a:xfrm>
            <a:off x="3143672" y="2564904"/>
            <a:ext cx="599728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9600" b="1" u="none" strike="noStrike" kern="0" cap="none" spc="0" normalizeH="0" baseline="0" noProof="0">
                <a:ln>
                  <a:solidFill>
                    <a:srgbClr val="F36622">
                      <a:alpha val="0"/>
                    </a:srgbClr>
                  </a:solidFill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나눔바른고딕" panose="020B0603020101020101" pitchFamily="50" charset="-127"/>
                <a:cs typeface="Arial" panose="020B0604020202020204" pitchFamily="34" charset="0"/>
              </a:rPr>
              <a:t>Ⅴ</a:t>
            </a:r>
            <a:endParaRPr lang="ko-KR" altLang="en-US" sz="9600"/>
          </a:p>
        </p:txBody>
      </p:sp>
      <p:sp>
        <p:nvSpPr>
          <p:cNvPr id="9" name="제목 4">
            <a:extLst>
              <a:ext uri="{FF2B5EF4-FFF2-40B4-BE49-F238E27FC236}">
                <a16:creationId xmlns:a16="http://schemas.microsoft.com/office/drawing/2014/main" id="{941F7E1E-5773-4204-B265-392B4CA146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888" y="2624549"/>
            <a:ext cx="5545831" cy="1608902"/>
          </a:xfrm>
        </p:spPr>
        <p:txBody>
          <a:bodyPr vert="horz" wrap="square" lIns="91440" tIns="45720" rIns="91440" bIns="45720" rtlCol="0" anchor="ctr">
            <a:spAutoFit/>
          </a:bodyPr>
          <a:lstStyle>
            <a:lvl1pPr>
              <a:defRPr lang="ko-KR" altLang="en-US" sz="5400" b="1">
                <a:cs typeface="+mn-cs"/>
              </a:defRPr>
            </a:lvl1pPr>
          </a:lstStyle>
          <a:p>
            <a:pPr marL="0" lvl="0" indent="0" algn="ctr" fontAlgn="auto">
              <a:spcBef>
                <a:spcPts val="813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ko-KR" altLang="en-US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27233973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내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5" name="개체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직사각형 55"/>
          <p:cNvSpPr/>
          <p:nvPr userDrawn="1"/>
        </p:nvSpPr>
        <p:spPr>
          <a:xfrm>
            <a:off x="5867412" y="6580001"/>
            <a:ext cx="457176" cy="2308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/>
            <a:fld id="{BC41C62D-11DA-4B3C-95BA-2F1C14FD1816}" type="slidenum">
              <a:rPr kumimoji="0" lang="ko-KR" altLang="en-US" sz="900" b="1" smtClean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pPr algn="ctr"/>
              <a:t>‹#›</a:t>
            </a:fld>
            <a:endParaRPr lang="ko-KR" altLang="en-US" sz="900" b="1" dirty="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solidFill>
                <a:schemeClr val="tx1">
                  <a:lumMod val="50000"/>
                  <a:lumOff val="50000"/>
                </a:schemeClr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grpSp>
        <p:nvGrpSpPr>
          <p:cNvPr id="9" name="그룹 8">
            <a:extLst>
              <a:ext uri="{FF2B5EF4-FFF2-40B4-BE49-F238E27FC236}">
                <a16:creationId xmlns:a16="http://schemas.microsoft.com/office/drawing/2014/main" id="{A8EDF732-DA14-4E1D-AAAC-F80BAE2F455F}"/>
              </a:ext>
            </a:extLst>
          </p:cNvPr>
          <p:cNvGrpSpPr/>
          <p:nvPr userDrawn="1"/>
        </p:nvGrpSpPr>
        <p:grpSpPr>
          <a:xfrm>
            <a:off x="-24554" y="6781278"/>
            <a:ext cx="12216554" cy="76722"/>
            <a:chOff x="-19950" y="6808662"/>
            <a:chExt cx="9925950" cy="76722"/>
          </a:xfrm>
        </p:grpSpPr>
        <p:sp>
          <p:nvSpPr>
            <p:cNvPr id="28" name="직사각형 27">
              <a:extLst>
                <a:ext uri="{FF2B5EF4-FFF2-40B4-BE49-F238E27FC236}">
                  <a16:creationId xmlns:a16="http://schemas.microsoft.com/office/drawing/2014/main" id="{EA80A4B2-F2C2-4496-BCEF-E12946709056}"/>
                </a:ext>
              </a:extLst>
            </p:cNvPr>
            <p:cNvSpPr/>
            <p:nvPr userDrawn="1"/>
          </p:nvSpPr>
          <p:spPr>
            <a:xfrm>
              <a:off x="-19950" y="6808662"/>
              <a:ext cx="9925950" cy="7672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3" name="직사각형 2">
              <a:extLst>
                <a:ext uri="{FF2B5EF4-FFF2-40B4-BE49-F238E27FC236}">
                  <a16:creationId xmlns:a16="http://schemas.microsoft.com/office/drawing/2014/main" id="{1B0EE37F-5693-41DD-85C7-80C39FCC7EB3}"/>
                </a:ext>
              </a:extLst>
            </p:cNvPr>
            <p:cNvSpPr/>
            <p:nvPr userDrawn="1"/>
          </p:nvSpPr>
          <p:spPr>
            <a:xfrm>
              <a:off x="4716397" y="6808662"/>
              <a:ext cx="473206" cy="7672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</p:grpSp>
      <p:sp>
        <p:nvSpPr>
          <p:cNvPr id="48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04046" y="445353"/>
            <a:ext cx="8103489" cy="28469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0" rIns="9144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sz="2000" b="1" baseline="0">
                <a:ln>
                  <a:solidFill>
                    <a:srgbClr val="F36622">
                      <a:alpha val="0"/>
                    </a:srgb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pPr lvl="0"/>
            <a:r>
              <a:rPr lang="en-US" altLang="ko-KR" dirty="0"/>
              <a:t>Page Title</a:t>
            </a:r>
            <a:endParaRPr lang="ko-KR" altLang="en-US" dirty="0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B063A1EC-C78C-4D4F-A9B9-30F227370469}"/>
              </a:ext>
            </a:extLst>
          </p:cNvPr>
          <p:cNvSpPr txBox="1"/>
          <p:nvPr userDrawn="1"/>
        </p:nvSpPr>
        <p:spPr>
          <a:xfrm>
            <a:off x="328491" y="124560"/>
            <a:ext cx="3595856" cy="224677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 marL="0" algn="l" defTabSz="457200" rtl="0" eaLnBrk="1" latinLnBrk="0" hangingPunct="1">
              <a:lnSpc>
                <a:spcPct val="110000"/>
              </a:lnSpc>
            </a:pPr>
            <a:r>
              <a:rPr lang="ko-KR" altLang="en-US" sz="800" kern="120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rPr>
              <a:t>「</a:t>
            </a:r>
            <a:r>
              <a:rPr lang="en-US" altLang="ko-KR" sz="800" kern="120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rPr>
              <a:t>2023</a:t>
            </a:r>
            <a:r>
              <a:rPr lang="ko-KR" altLang="en-US" sz="800" kern="120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rPr>
              <a:t>년도 마이데이터 종합기반 조성사업」 의료재활 마이데이터 오퍼레이터 플랫폼</a:t>
            </a:r>
            <a:endParaRPr lang="en-US" altLang="ko-KR" sz="800" kern="120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chemeClr val="tx1">
                  <a:lumMod val="50000"/>
                  <a:lumOff val="50000"/>
                </a:schemeClr>
              </a:solidFill>
              <a:latin typeface="나눔바른고딕" panose="020B0603020101020101" pitchFamily="50" charset="-127"/>
              <a:ea typeface="나눔바른고딕" panose="020B0603020101020101" pitchFamily="50" charset="-127"/>
              <a:cs typeface="+mn-cs"/>
            </a:endParaRPr>
          </a:p>
        </p:txBody>
      </p:sp>
      <p:pic>
        <p:nvPicPr>
          <p:cNvPr id="30" name="그림 29">
            <a:extLst>
              <a:ext uri="{FF2B5EF4-FFF2-40B4-BE49-F238E27FC236}">
                <a16:creationId xmlns:a16="http://schemas.microsoft.com/office/drawing/2014/main" id="{43D520B5-B26F-46DB-967E-74396FC030D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863" y="866203"/>
            <a:ext cx="12192000" cy="213359"/>
          </a:xfrm>
          <a:prstGeom prst="rect">
            <a:avLst/>
          </a:prstGeom>
        </p:spPr>
      </p:pic>
      <p:pic>
        <p:nvPicPr>
          <p:cNvPr id="19" name="그래픽 3">
            <a:extLst>
              <a:ext uri="{FF2B5EF4-FFF2-40B4-BE49-F238E27FC236}">
                <a16:creationId xmlns:a16="http://schemas.microsoft.com/office/drawing/2014/main" id="{5453A56D-9B73-4104-97F0-4BAA23918C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r="40428" b="-26173"/>
          <a:stretch/>
        </p:blipFill>
        <p:spPr>
          <a:xfrm>
            <a:off x="10850004" y="6438900"/>
            <a:ext cx="1047963" cy="302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2358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>
        <p15:guide id="1" pos="217">
          <p15:clr>
            <a:srgbClr val="FBAE40"/>
          </p15:clr>
        </p15:guide>
        <p15:guide id="2" pos="6023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orient="horz" pos="98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내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5" name="개체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직사각형 55"/>
          <p:cNvSpPr/>
          <p:nvPr userDrawn="1"/>
        </p:nvSpPr>
        <p:spPr>
          <a:xfrm>
            <a:off x="5867412" y="6580001"/>
            <a:ext cx="457176" cy="2308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/>
            <a:fld id="{BC41C62D-11DA-4B3C-95BA-2F1C14FD1816}" type="slidenum">
              <a:rPr kumimoji="0" lang="ko-KR" altLang="en-US" sz="900" b="1" smtClean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pPr algn="ctr"/>
              <a:t>‹#›</a:t>
            </a:fld>
            <a:endParaRPr lang="ko-KR" altLang="en-US" sz="900" b="1" dirty="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solidFill>
                <a:schemeClr val="tx1">
                  <a:lumMod val="50000"/>
                  <a:lumOff val="50000"/>
                </a:schemeClr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grpSp>
        <p:nvGrpSpPr>
          <p:cNvPr id="9" name="그룹 8">
            <a:extLst>
              <a:ext uri="{FF2B5EF4-FFF2-40B4-BE49-F238E27FC236}">
                <a16:creationId xmlns:a16="http://schemas.microsoft.com/office/drawing/2014/main" id="{A8EDF732-DA14-4E1D-AAAC-F80BAE2F455F}"/>
              </a:ext>
            </a:extLst>
          </p:cNvPr>
          <p:cNvGrpSpPr/>
          <p:nvPr userDrawn="1"/>
        </p:nvGrpSpPr>
        <p:grpSpPr>
          <a:xfrm>
            <a:off x="-24554" y="6781278"/>
            <a:ext cx="12216554" cy="76722"/>
            <a:chOff x="-19950" y="6808662"/>
            <a:chExt cx="9925950" cy="76722"/>
          </a:xfrm>
        </p:grpSpPr>
        <p:sp>
          <p:nvSpPr>
            <p:cNvPr id="28" name="직사각형 27">
              <a:extLst>
                <a:ext uri="{FF2B5EF4-FFF2-40B4-BE49-F238E27FC236}">
                  <a16:creationId xmlns:a16="http://schemas.microsoft.com/office/drawing/2014/main" id="{EA80A4B2-F2C2-4496-BCEF-E12946709056}"/>
                </a:ext>
              </a:extLst>
            </p:cNvPr>
            <p:cNvSpPr/>
            <p:nvPr userDrawn="1"/>
          </p:nvSpPr>
          <p:spPr>
            <a:xfrm>
              <a:off x="-19950" y="6808662"/>
              <a:ext cx="9925950" cy="7672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3" name="직사각형 2">
              <a:extLst>
                <a:ext uri="{FF2B5EF4-FFF2-40B4-BE49-F238E27FC236}">
                  <a16:creationId xmlns:a16="http://schemas.microsoft.com/office/drawing/2014/main" id="{1B0EE37F-5693-41DD-85C7-80C39FCC7EB3}"/>
                </a:ext>
              </a:extLst>
            </p:cNvPr>
            <p:cNvSpPr/>
            <p:nvPr userDrawn="1"/>
          </p:nvSpPr>
          <p:spPr>
            <a:xfrm>
              <a:off x="4716397" y="6808662"/>
              <a:ext cx="473206" cy="7672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</p:grpSp>
      <p:sp>
        <p:nvSpPr>
          <p:cNvPr id="48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1537521" y="445353"/>
            <a:ext cx="8103489" cy="28469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0" rIns="9144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sz="2000" b="1" baseline="0">
                <a:ln>
                  <a:solidFill>
                    <a:srgbClr val="F36622">
                      <a:alpha val="0"/>
                    </a:srgb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pPr lvl="0"/>
            <a:r>
              <a:rPr lang="en-US" altLang="ko-KR" dirty="0"/>
              <a:t>Page Title</a:t>
            </a:r>
            <a:endParaRPr lang="ko-KR" altLang="en-US" dirty="0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B063A1EC-C78C-4D4F-A9B9-30F227370469}"/>
              </a:ext>
            </a:extLst>
          </p:cNvPr>
          <p:cNvSpPr txBox="1"/>
          <p:nvPr userDrawn="1"/>
        </p:nvSpPr>
        <p:spPr>
          <a:xfrm>
            <a:off x="1461966" y="124560"/>
            <a:ext cx="3595856" cy="224677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 marL="0" algn="l" defTabSz="457200" rtl="0" eaLnBrk="1" latinLnBrk="0" hangingPunct="1">
              <a:lnSpc>
                <a:spcPct val="110000"/>
              </a:lnSpc>
            </a:pPr>
            <a:r>
              <a:rPr lang="ko-KR" altLang="en-US" sz="800" kern="120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rPr>
              <a:t>「</a:t>
            </a:r>
            <a:r>
              <a:rPr lang="en-US" altLang="ko-KR" sz="800" kern="120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rPr>
              <a:t>2023</a:t>
            </a:r>
            <a:r>
              <a:rPr lang="ko-KR" altLang="en-US" sz="800" kern="120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rPr>
              <a:t>년도 마이데이터 종합기반 조성사업」 의료재활 마이데이터 오퍼레이터 플랫폼</a:t>
            </a:r>
            <a:endParaRPr lang="en-US" altLang="ko-KR" sz="800" kern="120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chemeClr val="tx1">
                  <a:lumMod val="50000"/>
                  <a:lumOff val="50000"/>
                </a:schemeClr>
              </a:solidFill>
              <a:latin typeface="나눔바른고딕" panose="020B0603020101020101" pitchFamily="50" charset="-127"/>
              <a:ea typeface="나눔바른고딕" panose="020B0603020101020101" pitchFamily="50" charset="-127"/>
              <a:cs typeface="+mn-cs"/>
            </a:endParaRPr>
          </a:p>
        </p:txBody>
      </p:sp>
      <p:pic>
        <p:nvPicPr>
          <p:cNvPr id="30" name="그림 29">
            <a:extLst>
              <a:ext uri="{FF2B5EF4-FFF2-40B4-BE49-F238E27FC236}">
                <a16:creationId xmlns:a16="http://schemas.microsoft.com/office/drawing/2014/main" id="{43D520B5-B26F-46DB-967E-74396FC030D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863" y="866203"/>
            <a:ext cx="12192000" cy="213359"/>
          </a:xfrm>
          <a:prstGeom prst="rect">
            <a:avLst/>
          </a:prstGeom>
        </p:spPr>
      </p:pic>
      <p:pic>
        <p:nvPicPr>
          <p:cNvPr id="19" name="그래픽 3">
            <a:extLst>
              <a:ext uri="{FF2B5EF4-FFF2-40B4-BE49-F238E27FC236}">
                <a16:creationId xmlns:a16="http://schemas.microsoft.com/office/drawing/2014/main" id="{5453A56D-9B73-4104-97F0-4BAA23918C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r="40428" b="-26173"/>
          <a:stretch/>
        </p:blipFill>
        <p:spPr>
          <a:xfrm>
            <a:off x="10850004" y="6438900"/>
            <a:ext cx="1047963" cy="302469"/>
          </a:xfrm>
          <a:prstGeom prst="rect">
            <a:avLst/>
          </a:prstGeom>
        </p:spPr>
      </p:pic>
      <p:grpSp>
        <p:nvGrpSpPr>
          <p:cNvPr id="7" name="그룹 6">
            <a:extLst>
              <a:ext uri="{FF2B5EF4-FFF2-40B4-BE49-F238E27FC236}">
                <a16:creationId xmlns:a16="http://schemas.microsoft.com/office/drawing/2014/main" id="{8BD32DF6-6563-4241-BDCA-09B208CFEB08}"/>
              </a:ext>
            </a:extLst>
          </p:cNvPr>
          <p:cNvGrpSpPr/>
          <p:nvPr userDrawn="1"/>
        </p:nvGrpSpPr>
        <p:grpSpPr>
          <a:xfrm>
            <a:off x="423986" y="0"/>
            <a:ext cx="1000114" cy="876252"/>
            <a:chOff x="423986" y="0"/>
            <a:chExt cx="1000114" cy="876252"/>
          </a:xfrm>
        </p:grpSpPr>
        <p:sp>
          <p:nvSpPr>
            <p:cNvPr id="4" name="직각 삼각형 3">
              <a:extLst>
                <a:ext uri="{FF2B5EF4-FFF2-40B4-BE49-F238E27FC236}">
                  <a16:creationId xmlns:a16="http://schemas.microsoft.com/office/drawing/2014/main" id="{D15ECA91-AD72-4102-A8AB-987AD1F0FEB6}"/>
                </a:ext>
              </a:extLst>
            </p:cNvPr>
            <p:cNvSpPr/>
            <p:nvPr userDrawn="1"/>
          </p:nvSpPr>
          <p:spPr>
            <a:xfrm flipV="1">
              <a:off x="1351059" y="314365"/>
              <a:ext cx="73041" cy="45719"/>
            </a:xfrm>
            <a:prstGeom prst="rtTriangle">
              <a:avLst/>
            </a:prstGeom>
            <a:solidFill>
              <a:srgbClr val="677E9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32" name="사각형: 둥근 한쪽 모서리 14">
              <a:extLst>
                <a:ext uri="{FF2B5EF4-FFF2-40B4-BE49-F238E27FC236}">
                  <a16:creationId xmlns:a16="http://schemas.microsoft.com/office/drawing/2014/main" id="{08C0F242-9E17-40EB-AA30-6D95BCD92EF5}"/>
                </a:ext>
              </a:extLst>
            </p:cNvPr>
            <p:cNvSpPr/>
            <p:nvPr userDrawn="1"/>
          </p:nvSpPr>
          <p:spPr>
            <a:xfrm>
              <a:off x="423986" y="0"/>
              <a:ext cx="927468" cy="876252"/>
            </a:xfrm>
            <a:prstGeom prst="round1Rect">
              <a:avLst>
                <a:gd name="adj" fmla="val 0"/>
              </a:avLst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ko-KR" altLang="en-US" sz="180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grpSp>
          <p:nvGrpSpPr>
            <p:cNvPr id="44" name="그룹 43">
              <a:extLst>
                <a:ext uri="{FF2B5EF4-FFF2-40B4-BE49-F238E27FC236}">
                  <a16:creationId xmlns:a16="http://schemas.microsoft.com/office/drawing/2014/main" id="{AD52F5BB-0A63-4D0B-AC5B-7569A1BA1EF5}"/>
                </a:ext>
              </a:extLst>
            </p:cNvPr>
            <p:cNvGrpSpPr/>
            <p:nvPr userDrawn="1"/>
          </p:nvGrpSpPr>
          <p:grpSpPr>
            <a:xfrm>
              <a:off x="424182" y="130594"/>
              <a:ext cx="999722" cy="201658"/>
              <a:chOff x="307975" y="143295"/>
              <a:chExt cx="828601" cy="201658"/>
            </a:xfrm>
          </p:grpSpPr>
          <p:sp>
            <p:nvSpPr>
              <p:cNvPr id="45" name="직사각형 44">
                <a:extLst>
                  <a:ext uri="{FF2B5EF4-FFF2-40B4-BE49-F238E27FC236}">
                    <a16:creationId xmlns:a16="http://schemas.microsoft.com/office/drawing/2014/main" id="{83F4556C-F5FC-4F1F-8144-BC355E779974}"/>
                  </a:ext>
                </a:extLst>
              </p:cNvPr>
              <p:cNvSpPr/>
              <p:nvPr/>
            </p:nvSpPr>
            <p:spPr>
              <a:xfrm>
                <a:off x="307975" y="170585"/>
                <a:ext cx="828601" cy="158025"/>
              </a:xfrm>
              <a:prstGeom prst="rect">
                <a:avLst/>
              </a:prstGeom>
              <a:solidFill>
                <a:srgbClr val="075E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0" algn="ctr"/>
                <a:endParaRPr lang="ko-KR" altLang="en-US" sz="1800">
                  <a:latin typeface="나눔바른고딕" panose="020B0603020101020101" pitchFamily="50" charset="-127"/>
                  <a:ea typeface="나눔바른고딕" panose="020B0603020101020101" pitchFamily="50" charset="-127"/>
                </a:endParaRPr>
              </a:p>
            </p:txBody>
          </p:sp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C0C3AD12-6E0A-47F4-B1DB-7E4AABFE9E9E}"/>
                  </a:ext>
                </a:extLst>
              </p:cNvPr>
              <p:cNvSpPr txBox="1"/>
              <p:nvPr/>
            </p:nvSpPr>
            <p:spPr>
              <a:xfrm>
                <a:off x="469587" y="143295"/>
                <a:ext cx="491855" cy="201658"/>
              </a:xfrm>
              <a:prstGeom prst="rect">
                <a:avLst/>
              </a:prstGeom>
              <a:noFill/>
            </p:spPr>
            <p:txBody>
              <a:bodyPr wrap="none" anchor="ctr">
                <a:spAutoFit/>
              </a:bodyPr>
              <a:lstStyle/>
              <a:p>
                <a:pPr marL="0" algn="dist" defTabSz="457200" rtl="0" eaLnBrk="1" latinLnBrk="0" hangingPunct="1">
                  <a:lnSpc>
                    <a:spcPct val="110000"/>
                  </a:lnSpc>
                </a:pPr>
                <a:r>
                  <a:rPr lang="en-US" altLang="ko-KR" sz="700" b="0" spc="100" baseline="0" dirty="0">
                    <a:ln>
                      <a:solidFill>
                        <a:schemeClr val="accent1"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나눔바른고딕" panose="020B0603020101020101" pitchFamily="50" charset="-127"/>
                    <a:cs typeface="Arial" panose="020B0604020202020204" pitchFamily="34" charset="0"/>
                  </a:rPr>
                  <a:t>Chapter</a:t>
                </a:r>
                <a:endParaRPr lang="en-US" altLang="ko-KR" sz="700" b="0" kern="1200" spc="100" baseline="0" dirty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나눔바른고딕" panose="020B0603020101020101" pitchFamily="50" charset="-127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0F6DCF61-ACA3-4397-8141-D570421B0C45}"/>
                </a:ext>
              </a:extLst>
            </p:cNvPr>
            <p:cNvSpPr txBox="1"/>
            <p:nvPr userDrawn="1"/>
          </p:nvSpPr>
          <p:spPr bwMode="auto">
            <a:xfrm>
              <a:off x="824526" y="283049"/>
              <a:ext cx="126389" cy="3798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18000" tIns="18000" rIns="18000" bIns="18000" numCol="1" rtlCol="0" anchor="b" anchorCtr="0" compatLnSpc="1">
              <a:prstTxWarp prst="textNoShape">
                <a:avLst/>
              </a:prstTxWarp>
              <a:spAutoFit/>
            </a:bodyPr>
            <a:lstStyle/>
            <a:p>
              <a:pPr algn="ctr" eaLnBrk="0" latinLnBrk="1" hangingPunct="0">
                <a:lnSpc>
                  <a:spcPct val="110000"/>
                </a:lnSpc>
              </a:pPr>
              <a:r>
                <a:rPr kumimoji="1" lang="en-US" altLang="ko-KR" sz="2200" b="1" u="none" strike="noStrike" kern="0" cap="none" spc="0" normalizeH="0" baseline="0" noProof="0" dirty="0">
                  <a:ln>
                    <a:solidFill>
                      <a:srgbClr val="F36622">
                        <a:alpha val="0"/>
                      </a:srgbClr>
                    </a:solidFill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ea typeface="나눔바른고딕" panose="020B0603020101020101" pitchFamily="50" charset="-127"/>
                  <a:cs typeface="Arial" panose="020B0604020202020204" pitchFamily="34" charset="0"/>
                </a:rPr>
                <a:t>I</a:t>
              </a:r>
            </a:p>
          </p:txBody>
        </p:sp>
        <p:sp>
          <p:nvSpPr>
            <p:cNvPr id="2" name="사각형: 둥근 모서리 1">
              <a:extLst>
                <a:ext uri="{FF2B5EF4-FFF2-40B4-BE49-F238E27FC236}">
                  <a16:creationId xmlns:a16="http://schemas.microsoft.com/office/drawing/2014/main" id="{7C93626D-1B4A-4E52-8C6F-CB76F699B2D1}"/>
                </a:ext>
              </a:extLst>
            </p:cNvPr>
            <p:cNvSpPr/>
            <p:nvPr userDrawn="1"/>
          </p:nvSpPr>
          <p:spPr>
            <a:xfrm>
              <a:off x="492809" y="641881"/>
              <a:ext cx="789822" cy="176330"/>
            </a:xfrm>
            <a:prstGeom prst="roundRect">
              <a:avLst>
                <a:gd name="adj" fmla="val 50000"/>
              </a:avLst>
            </a:prstGeom>
            <a:solidFill>
              <a:srgbClr val="14ACA8"/>
            </a:solidFill>
            <a:ln w="317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/>
              <a:r>
                <a:rPr lang="ko-KR" altLang="en-US" sz="800"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플랫폼</a:t>
              </a:r>
              <a:endParaRPr lang="ko-KR" altLang="en-US" sz="8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16886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>
        <p15:guide id="1" pos="217">
          <p15:clr>
            <a:srgbClr val="FBAE40"/>
          </p15:clr>
        </p15:guide>
        <p15:guide id="2" pos="6023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orient="horz" pos="98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E8063526-978B-4C87-8464-F6785B77FA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DDB0A51D-E371-4EE8-8C50-E8927FFB4E6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dirty="0"/>
              <a:t>마스터 텍스트 스타일을 편집하려면 클릭</a:t>
            </a:r>
          </a:p>
          <a:p>
            <a:pPr lvl="1"/>
            <a:r>
              <a:rPr lang="ko-KR" altLang="en-US" dirty="0"/>
              <a:t>두 번째 수준</a:t>
            </a:r>
          </a:p>
          <a:p>
            <a:pPr lvl="2"/>
            <a:r>
              <a:rPr lang="ko-KR" altLang="en-US" dirty="0"/>
              <a:t>세 번째 수준</a:t>
            </a:r>
          </a:p>
          <a:p>
            <a:pPr lvl="3"/>
            <a:r>
              <a:rPr lang="ko-KR" altLang="en-US" dirty="0"/>
              <a:t>네 번째 수준</a:t>
            </a:r>
          </a:p>
          <a:p>
            <a:pPr lvl="4"/>
            <a:r>
              <a:rPr lang="ko-KR" altLang="en-US" dirty="0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ABA3BE62-2D60-4A71-837C-66D23E4F96B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1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C774D7-E46F-4BDF-93BA-2EE2D34C143B}" type="datetimeFigureOut">
              <a:rPr lang="ko-KR" altLang="en-US" smtClean="0"/>
              <a:t>2023. 7. 6.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16482BCC-34D5-48A8-9A29-81FDD8826D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592C6E39-C462-4E96-89E1-7CA6755A6A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1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B75E81-61BD-46E8-BF8F-D87FD02054A4}" type="slidenum">
              <a:rPr lang="ko-KR" altLang="en-US" smtClean="0"/>
              <a:t>‹#›</a:t>
            </a:fld>
            <a:endParaRPr lang="ko-KR" altLang="en-US"/>
          </a:p>
        </p:txBody>
      </p:sp>
      <p:graphicFrame>
        <p:nvGraphicFramePr>
          <p:cNvPr id="7" name="개체 6" hidden="1">
            <a:extLst>
              <a:ext uri="{FF2B5EF4-FFF2-40B4-BE49-F238E27FC236}">
                <a16:creationId xmlns:a16="http://schemas.microsoft.com/office/drawing/2014/main" id="{E5D97635-5DF4-4A1D-93C8-013A19476D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444730997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60" imgH="360" progId="">
                  <p:embed/>
                </p:oleObj>
              </mc:Choice>
              <mc:Fallback>
                <p:oleObj name="think-cell Slide" r:id="rId21" imgW="360" imgH="360" progId="">
                  <p:embed/>
                  <p:pic>
                    <p:nvPicPr>
                      <p:cNvPr id="7" name="개체 6" hidden="1">
                        <a:extLst>
                          <a:ext uri="{FF2B5EF4-FFF2-40B4-BE49-F238E27FC236}">
                            <a16:creationId xmlns:a16="http://schemas.microsoft.com/office/drawing/2014/main" id="{E5D97635-5DF4-4A1D-93C8-013A19476D6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810891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9" r:id="rId1"/>
    <p:sldLayoutId id="2147483940" r:id="rId2"/>
    <p:sldLayoutId id="2147483941" r:id="rId3"/>
    <p:sldLayoutId id="2147483953" r:id="rId4"/>
    <p:sldLayoutId id="2147483954" r:id="rId5"/>
    <p:sldLayoutId id="2147483955" r:id="rId6"/>
    <p:sldLayoutId id="2147483956" r:id="rId7"/>
    <p:sldLayoutId id="2147483942" r:id="rId8"/>
    <p:sldLayoutId id="2147483943" r:id="rId9"/>
    <p:sldLayoutId id="2147483944" r:id="rId10"/>
    <p:sldLayoutId id="2147483945" r:id="rId11"/>
    <p:sldLayoutId id="2147483946" r:id="rId12"/>
    <p:sldLayoutId id="2147483947" r:id="rId13"/>
    <p:sldLayoutId id="2147483948" r:id="rId14"/>
    <p:sldLayoutId id="2147483949" r:id="rId15"/>
    <p:sldLayoutId id="2147483950" r:id="rId16"/>
    <p:sldLayoutId id="2147483951" r:id="rId17"/>
    <p:sldLayoutId id="2147483952" r:id="rId18"/>
  </p:sldLayoutIdLst>
  <p:txStyles>
    <p:titleStyle>
      <a:lvl1pPr algn="l" defTabSz="742950" rtl="0" eaLnBrk="1" latinLnBrk="1" hangingPunct="1">
        <a:lnSpc>
          <a:spcPct val="90000"/>
        </a:lnSpc>
        <a:spcBef>
          <a:spcPct val="0"/>
        </a:spcBef>
        <a:buNone/>
        <a:defRPr sz="3575" kern="1200">
          <a:solidFill>
            <a:schemeClr val="tx1"/>
          </a:solidFill>
          <a:latin typeface="나눔바른고딕" panose="020B0603020101020101" pitchFamily="50" charset="-127"/>
          <a:ea typeface="나눔바른고딕" panose="020B0603020101020101" pitchFamily="50" charset="-127"/>
          <a:cs typeface="+mj-cs"/>
        </a:defRPr>
      </a:lvl1pPr>
    </p:titleStyle>
    <p:bodyStyle>
      <a:lvl1pPr marL="185738" indent="-185738" algn="l" defTabSz="742950" rtl="0" eaLnBrk="1" latinLnBrk="1" hangingPunct="1">
        <a:lnSpc>
          <a:spcPct val="90000"/>
        </a:lnSpc>
        <a:spcBef>
          <a:spcPts val="813"/>
        </a:spcBef>
        <a:buFont typeface="Arial" panose="020B0604020202020204" pitchFamily="34" charset="0"/>
        <a:buChar char="•"/>
        <a:defRPr sz="2275" kern="1200">
          <a:solidFill>
            <a:schemeClr val="tx1"/>
          </a:solidFill>
          <a:latin typeface="나눔바른고딕" panose="020B0603020101020101" pitchFamily="50" charset="-127"/>
          <a:ea typeface="나눔바른고딕" panose="020B0603020101020101" pitchFamily="50" charset="-127"/>
          <a:cs typeface="+mn-cs"/>
        </a:defRPr>
      </a:lvl1pPr>
      <a:lvl2pPr marL="557213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나눔바른고딕" panose="020B0603020101020101" pitchFamily="50" charset="-127"/>
          <a:ea typeface="나눔바른고딕" panose="020B0603020101020101" pitchFamily="50" charset="-127"/>
          <a:cs typeface="+mn-cs"/>
        </a:defRPr>
      </a:lvl2pPr>
      <a:lvl3pPr marL="928688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625" kern="1200">
          <a:solidFill>
            <a:schemeClr val="tx1"/>
          </a:solidFill>
          <a:latin typeface="나눔바른고딕" panose="020B0603020101020101" pitchFamily="50" charset="-127"/>
          <a:ea typeface="나눔바른고딕" panose="020B0603020101020101" pitchFamily="50" charset="-127"/>
          <a:cs typeface="+mn-cs"/>
        </a:defRPr>
      </a:lvl3pPr>
      <a:lvl4pPr marL="1300163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나눔바른고딕" panose="020B0603020101020101" pitchFamily="50" charset="-127"/>
          <a:ea typeface="나눔바른고딕" panose="020B0603020101020101" pitchFamily="50" charset="-127"/>
          <a:cs typeface="+mn-cs"/>
        </a:defRPr>
      </a:lvl4pPr>
      <a:lvl5pPr marL="1671638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나눔바른고딕" panose="020B0603020101020101" pitchFamily="50" charset="-127"/>
          <a:ea typeface="나눔바른고딕" panose="020B0603020101020101" pitchFamily="50" charset="-127"/>
          <a:cs typeface="+mn-cs"/>
        </a:defRPr>
      </a:lvl5pPr>
      <a:lvl6pPr marL="2043113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414588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786063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157538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2.png"/><Relationship Id="rId4" Type="http://schemas.openxmlformats.org/officeDocument/2006/relationships/image" Target="../media/image20.jp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2.png"/><Relationship Id="rId4" Type="http://schemas.openxmlformats.org/officeDocument/2006/relationships/image" Target="../media/image3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2.png"/><Relationship Id="rId4" Type="http://schemas.openxmlformats.org/officeDocument/2006/relationships/image" Target="../media/image34.jp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2.png"/><Relationship Id="rId4" Type="http://schemas.openxmlformats.org/officeDocument/2006/relationships/image" Target="../media/image36.jp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13" Type="http://schemas.openxmlformats.org/officeDocument/2006/relationships/image" Target="../media/image46.png"/><Relationship Id="rId18" Type="http://schemas.openxmlformats.org/officeDocument/2006/relationships/image" Target="../media/image51.png"/><Relationship Id="rId3" Type="http://schemas.openxmlformats.org/officeDocument/2006/relationships/image" Target="../media/image37.png"/><Relationship Id="rId7" Type="http://schemas.openxmlformats.org/officeDocument/2006/relationships/image" Target="../media/image40.png"/><Relationship Id="rId12" Type="http://schemas.openxmlformats.org/officeDocument/2006/relationships/image" Target="../media/image45.png"/><Relationship Id="rId17" Type="http://schemas.openxmlformats.org/officeDocument/2006/relationships/image" Target="../media/image50.png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49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9.png"/><Relationship Id="rId11" Type="http://schemas.openxmlformats.org/officeDocument/2006/relationships/image" Target="../media/image44.png"/><Relationship Id="rId5" Type="http://schemas.openxmlformats.org/officeDocument/2006/relationships/image" Target="../media/image38.png"/><Relationship Id="rId15" Type="http://schemas.openxmlformats.org/officeDocument/2006/relationships/image" Target="../media/image48.png"/><Relationship Id="rId10" Type="http://schemas.openxmlformats.org/officeDocument/2006/relationships/image" Target="../media/image43.png"/><Relationship Id="rId4" Type="http://schemas.openxmlformats.org/officeDocument/2006/relationships/image" Target="../media/image12.png"/><Relationship Id="rId9" Type="http://schemas.openxmlformats.org/officeDocument/2006/relationships/image" Target="../media/image42.png"/><Relationship Id="rId14" Type="http://schemas.openxmlformats.org/officeDocument/2006/relationships/image" Target="../media/image47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2.png"/><Relationship Id="rId4" Type="http://schemas.openxmlformats.org/officeDocument/2006/relationships/image" Target="../media/image53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2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2.png"/><Relationship Id="rId4" Type="http://schemas.openxmlformats.org/officeDocument/2006/relationships/image" Target="../media/image56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2.png"/><Relationship Id="rId4" Type="http://schemas.openxmlformats.org/officeDocument/2006/relationships/image" Target="../media/image58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2.png"/><Relationship Id="rId4" Type="http://schemas.openxmlformats.org/officeDocument/2006/relationships/image" Target="../media/image60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2.png"/><Relationship Id="rId4" Type="http://schemas.openxmlformats.org/officeDocument/2006/relationships/image" Target="../media/image62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63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2.png"/><Relationship Id="rId4" Type="http://schemas.openxmlformats.org/officeDocument/2006/relationships/image" Target="../media/image65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68.png"/><Relationship Id="rId5" Type="http://schemas.openxmlformats.org/officeDocument/2006/relationships/image" Target="../media/image12.png"/><Relationship Id="rId4" Type="http://schemas.openxmlformats.org/officeDocument/2006/relationships/image" Target="../media/image67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2.png"/><Relationship Id="rId4" Type="http://schemas.openxmlformats.org/officeDocument/2006/relationships/image" Target="../media/image70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2.png"/><Relationship Id="rId4" Type="http://schemas.openxmlformats.org/officeDocument/2006/relationships/image" Target="../media/image72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2.png"/><Relationship Id="rId4" Type="http://schemas.openxmlformats.org/officeDocument/2006/relationships/image" Target="../media/image74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2.png"/><Relationship Id="rId4" Type="http://schemas.openxmlformats.org/officeDocument/2006/relationships/image" Target="../media/image76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2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79.jpg"/><Relationship Id="rId4" Type="http://schemas.openxmlformats.org/officeDocument/2006/relationships/image" Target="../media/image78.jp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2.png"/><Relationship Id="rId4" Type="http://schemas.openxmlformats.org/officeDocument/2006/relationships/image" Target="../media/image8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84.jpg"/><Relationship Id="rId5" Type="http://schemas.openxmlformats.org/officeDocument/2006/relationships/image" Target="../media/image83.jpg"/><Relationship Id="rId4" Type="http://schemas.openxmlformats.org/officeDocument/2006/relationships/image" Target="../media/image82.jp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2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jp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2.png"/><Relationship Id="rId4" Type="http://schemas.openxmlformats.org/officeDocument/2006/relationships/image" Target="../media/image87.jp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2.png"/><Relationship Id="rId4" Type="http://schemas.openxmlformats.org/officeDocument/2006/relationships/image" Target="../media/image89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jp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2.png"/><Relationship Id="rId4" Type="http://schemas.openxmlformats.org/officeDocument/2006/relationships/image" Target="../media/image91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2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jp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2.png"/><Relationship Id="rId4" Type="http://schemas.openxmlformats.org/officeDocument/2006/relationships/image" Target="../media/image94.jp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2.png"/><Relationship Id="rId4" Type="http://schemas.openxmlformats.org/officeDocument/2006/relationships/image" Target="../media/image96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jp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2.png"/><Relationship Id="rId4" Type="http://schemas.openxmlformats.org/officeDocument/2006/relationships/image" Target="../media/image98.jp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jp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2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2.png"/><Relationship Id="rId4" Type="http://schemas.openxmlformats.org/officeDocument/2006/relationships/image" Target="../media/image15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7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662EB8E4-BB9D-4DE1-9F0C-280BBD240973}"/>
              </a:ext>
            </a:extLst>
          </p:cNvPr>
          <p:cNvSpPr txBox="1"/>
          <p:nvPr/>
        </p:nvSpPr>
        <p:spPr>
          <a:xfrm>
            <a:off x="3599146" y="1840209"/>
            <a:ext cx="8133957" cy="646331"/>
          </a:xfrm>
          <a:prstGeom prst="rect">
            <a:avLst/>
          </a:prstGeom>
        </p:spPr>
        <p:txBody>
          <a:bodyPr wrap="none" rtlCol="0" anchor="ctr">
            <a:spAutoFit/>
          </a:bodyPr>
          <a:lstStyle/>
          <a:p>
            <a:pPr algn="r"/>
            <a:r>
              <a:rPr lang="ko-KR" altLang="en-US" sz="3600" b="1" spc="-15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002060"/>
                </a:solidFill>
                <a:latin typeface="+mn-ea"/>
                <a:ea typeface="+mn-ea"/>
                <a:cs typeface="Arial" panose="020B0604020202020204" pitchFamily="34" charset="0"/>
              </a:rPr>
              <a:t>의료재활 </a:t>
            </a:r>
            <a:r>
              <a:rPr lang="ko-KR" altLang="en-US" sz="3600" b="1" spc="-150" dirty="0" err="1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002060"/>
                </a:solidFill>
                <a:latin typeface="+mn-ea"/>
                <a:ea typeface="+mn-ea"/>
                <a:cs typeface="Arial" panose="020B0604020202020204" pitchFamily="34" charset="0"/>
              </a:rPr>
              <a:t>마이데이터</a:t>
            </a:r>
            <a:r>
              <a:rPr lang="ko-KR" altLang="en-US" sz="3600" b="1" spc="-15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002060"/>
                </a:solidFill>
                <a:latin typeface="+mn-ea"/>
                <a:ea typeface="+mn-ea"/>
                <a:cs typeface="Arial" panose="020B0604020202020204" pitchFamily="34" charset="0"/>
              </a:rPr>
              <a:t> 오퍼레이터 플랫폼</a:t>
            </a:r>
            <a:endParaRPr lang="ko-KR" altLang="en-US" sz="3600" b="1" spc="-150" dirty="0">
              <a:ln>
                <a:solidFill>
                  <a:prstClr val="black">
                    <a:alpha val="0"/>
                  </a:prstClr>
                </a:solidFill>
              </a:ln>
              <a:solidFill>
                <a:srgbClr val="002060"/>
              </a:solidFill>
              <a:latin typeface="+mn-ea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53214D6-CFE8-4D1B-ADA5-D55A7D27DCD2}"/>
              </a:ext>
            </a:extLst>
          </p:cNvPr>
          <p:cNvSpPr txBox="1"/>
          <p:nvPr/>
        </p:nvSpPr>
        <p:spPr>
          <a:xfrm>
            <a:off x="5319322" y="2738810"/>
            <a:ext cx="6413781" cy="523220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r"/>
            <a:r>
              <a:rPr lang="en-US" altLang="ko-KR" sz="2800" b="1" spc="-4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217EBD"/>
                </a:solidFill>
                <a:latin typeface="+mn-ea"/>
                <a:cs typeface="Arial" panose="020B0604020202020204" pitchFamily="34" charset="0"/>
              </a:rPr>
              <a:t>UI</a:t>
            </a:r>
            <a:r>
              <a:rPr lang="ko-KR" altLang="en-US" sz="2800" b="1" spc="-4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217EBD"/>
                </a:solidFill>
                <a:latin typeface="+mn-ea"/>
                <a:cs typeface="Arial" panose="020B0604020202020204" pitchFamily="34" charset="0"/>
              </a:rPr>
              <a:t>설계</a:t>
            </a:r>
            <a:endParaRPr lang="en-US" altLang="ko-KR" sz="2800" b="1" spc="-40" dirty="0">
              <a:ln>
                <a:solidFill>
                  <a:prstClr val="black">
                    <a:alpha val="0"/>
                  </a:prstClr>
                </a:solidFill>
              </a:ln>
              <a:solidFill>
                <a:srgbClr val="217EBD"/>
              </a:solidFill>
              <a:latin typeface="+mn-ea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16BC615-11D0-4C97-B213-CD62E32072FC}"/>
              </a:ext>
            </a:extLst>
          </p:cNvPr>
          <p:cNvSpPr txBox="1"/>
          <p:nvPr/>
        </p:nvSpPr>
        <p:spPr>
          <a:xfrm>
            <a:off x="10551369" y="3992965"/>
            <a:ext cx="1181734" cy="400110"/>
          </a:xfrm>
          <a:prstGeom prst="rect">
            <a:avLst/>
          </a:prstGeom>
        </p:spPr>
        <p:txBody>
          <a:bodyPr wrap="none" rtlCol="0" anchor="ctr">
            <a:spAutoFit/>
          </a:bodyPr>
          <a:lstStyle/>
          <a:p>
            <a:r>
              <a:rPr lang="en-US" altLang="ko-KR" sz="2000" b="1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tx2">
                    <a:lumMod val="75000"/>
                    <a:alpha val="60000"/>
                  </a:schemeClr>
                </a:solidFill>
                <a:latin typeface="Arial" panose="020B0604020202020204" pitchFamily="34" charset="0"/>
                <a:ea typeface="나눔바른고딕" panose="020B0603020101020101" pitchFamily="50" charset="-127"/>
                <a:cs typeface="Arial" panose="020B0604020202020204" pitchFamily="34" charset="0"/>
              </a:rPr>
              <a:t>2023.06.</a:t>
            </a:r>
            <a:endParaRPr lang="en-US" altLang="ko-KR" sz="2000" b="1" dirty="0">
              <a:ln>
                <a:solidFill>
                  <a:prstClr val="black">
                    <a:alpha val="0"/>
                  </a:prstClr>
                </a:solidFill>
              </a:ln>
              <a:solidFill>
                <a:schemeClr val="tx2">
                  <a:lumMod val="75000"/>
                  <a:alpha val="60000"/>
                </a:schemeClr>
              </a:solidFill>
              <a:latin typeface="Arial" panose="020B0604020202020204" pitchFamily="34" charset="0"/>
              <a:ea typeface="나눔바른고딕" panose="020B0603020101020101" pitchFamily="50" charset="-127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64F6409-B836-4B26-AFCA-C5ED8A147F69}"/>
              </a:ext>
            </a:extLst>
          </p:cNvPr>
          <p:cNvSpPr txBox="1"/>
          <p:nvPr/>
        </p:nvSpPr>
        <p:spPr>
          <a:xfrm>
            <a:off x="160228" y="130637"/>
            <a:ext cx="5267325" cy="338554"/>
          </a:xfrm>
          <a:prstGeom prst="rect">
            <a:avLst/>
          </a:prstGeom>
        </p:spPr>
        <p:txBody>
          <a:bodyPr wrap="square" rtlCol="0" anchor="ctr">
            <a:spAutoFit/>
          </a:bodyPr>
          <a:lstStyle>
            <a:defPPr>
              <a:defRPr lang="en-US"/>
            </a:defPPr>
            <a:lvl1pPr defTabSz="457200" latinLnBrk="0">
              <a:defRPr sz="1600" b="1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002060"/>
                </a:solidFill>
                <a:latin typeface="+mn-ea"/>
                <a:cs typeface="Arial" panose="020B0604020202020204" pitchFamily="34" charset="0"/>
              </a:defRPr>
            </a:lvl1pPr>
            <a:lvl2pPr defTabSz="457200" latinLnBrk="0">
              <a:defRPr/>
            </a:lvl2pPr>
            <a:lvl3pPr defTabSz="457200" latinLnBrk="0">
              <a:defRPr/>
            </a:lvl3pPr>
            <a:lvl4pPr defTabSz="457200" latinLnBrk="0">
              <a:defRPr/>
            </a:lvl4pPr>
            <a:lvl5pPr defTabSz="457200" latinLnBrk="0">
              <a:defRPr/>
            </a:lvl5pPr>
            <a:lvl6pPr defTabSz="457200" latinLnBrk="0">
              <a:defRPr/>
            </a:lvl6pPr>
            <a:lvl7pPr defTabSz="457200" latinLnBrk="0">
              <a:defRPr/>
            </a:lvl7pPr>
            <a:lvl8pPr defTabSz="457200" latinLnBrk="0">
              <a:defRPr/>
            </a:lvl8pPr>
            <a:lvl9pPr defTabSz="457200" latinLnBrk="0">
              <a:defRPr/>
            </a:lvl9pPr>
          </a:lstStyle>
          <a:p>
            <a:r>
              <a:rPr lang="ko-KR" altLang="en-US"/>
              <a:t>「</a:t>
            </a:r>
            <a:r>
              <a:rPr lang="en-US" altLang="ko-KR"/>
              <a:t>2023</a:t>
            </a:r>
            <a:r>
              <a:rPr lang="ko-KR" altLang="en-US"/>
              <a:t>년도 마이데이터 종합기반 조성사업」</a:t>
            </a:r>
          </a:p>
        </p:txBody>
      </p:sp>
    </p:spTree>
    <p:extLst>
      <p:ext uri="{BB962C8B-B14F-4D97-AF65-F5344CB8AC3E}">
        <p14:creationId xmlns:p14="http://schemas.microsoft.com/office/powerpoint/2010/main" val="1444019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 descr="텍스트, 스크린샷, 폰트, 디자인이(가) 표시된 사진&#10;&#10;자동 생성된 설명">
            <a:extLst>
              <a:ext uri="{FF2B5EF4-FFF2-40B4-BE49-F238E27FC236}">
                <a16:creationId xmlns:a16="http://schemas.microsoft.com/office/drawing/2014/main" id="{D633800C-DB5B-6E9C-11A4-FA4FD6BCB13F}"/>
              </a:ext>
            </a:extLst>
          </p:cNvPr>
          <p:cNvPicPr>
            <a:picLocks/>
          </p:cNvPicPr>
          <p:nvPr/>
        </p:nvPicPr>
        <p:blipFill rotWithShape="1">
          <a:blip r:embed="rId2"/>
          <a:srcRect t="38" b="6154"/>
          <a:stretch/>
        </p:blipFill>
        <p:spPr>
          <a:xfrm>
            <a:off x="597600" y="2064428"/>
            <a:ext cx="2052000" cy="4031999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12" name="그림 11" descr="텍스트, 스크린샷, 폰트, 문서이(가) 표시된 사진&#10;&#10;자동 생성된 설명">
            <a:extLst>
              <a:ext uri="{FF2B5EF4-FFF2-40B4-BE49-F238E27FC236}">
                <a16:creationId xmlns:a16="http://schemas.microsoft.com/office/drawing/2014/main" id="{B4DDE1B4-DAD5-7377-1D74-52F4DF37485E}"/>
              </a:ext>
            </a:extLst>
          </p:cNvPr>
          <p:cNvPicPr>
            <a:picLocks/>
          </p:cNvPicPr>
          <p:nvPr/>
        </p:nvPicPr>
        <p:blipFill rotWithShape="1">
          <a:blip r:embed="rId3"/>
          <a:srcRect t="38" b="6154"/>
          <a:stretch/>
        </p:blipFill>
        <p:spPr>
          <a:xfrm>
            <a:off x="2880000" y="2064428"/>
            <a:ext cx="2052000" cy="4031999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40" name="그림 39" descr="텍스트, 폰트, 스크린샷, 문서이(가) 표시된 사진&#10;&#10;자동 생성된 설명">
            <a:extLst>
              <a:ext uri="{FF2B5EF4-FFF2-40B4-BE49-F238E27FC236}">
                <a16:creationId xmlns:a16="http://schemas.microsoft.com/office/drawing/2014/main" id="{EDB8CF98-C2F9-7EF0-C613-47714EA5F8F1}"/>
              </a:ext>
            </a:extLst>
          </p:cNvPr>
          <p:cNvPicPr>
            <a:picLocks/>
          </p:cNvPicPr>
          <p:nvPr/>
        </p:nvPicPr>
        <p:blipFill rotWithShape="1">
          <a:blip r:embed="rId4"/>
          <a:srcRect t="38" b="6154"/>
          <a:stretch/>
        </p:blipFill>
        <p:spPr>
          <a:xfrm>
            <a:off x="5162400" y="2064428"/>
            <a:ext cx="2052000" cy="4031999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2" name="제목 1">
            <a:extLst>
              <a:ext uri="{FF2B5EF4-FFF2-40B4-BE49-F238E27FC236}">
                <a16:creationId xmlns:a16="http://schemas.microsoft.com/office/drawing/2014/main" id="{0C5286BA-92CE-41FB-BB05-BE0F5BBA1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사용자 인증</a:t>
            </a:r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B73B35C2-EB8A-4573-B037-7CC6DF06F86A}"/>
              </a:ext>
            </a:extLst>
          </p:cNvPr>
          <p:cNvGrpSpPr/>
          <p:nvPr/>
        </p:nvGrpSpPr>
        <p:grpSpPr>
          <a:xfrm>
            <a:off x="0" y="-3562"/>
            <a:ext cx="9226508" cy="6816938"/>
            <a:chOff x="-1952021" y="-3562"/>
            <a:chExt cx="9226508" cy="6816938"/>
          </a:xfrm>
        </p:grpSpPr>
        <p:cxnSp>
          <p:nvCxnSpPr>
            <p:cNvPr id="6" name="직선 연결선 5">
              <a:extLst>
                <a:ext uri="{FF2B5EF4-FFF2-40B4-BE49-F238E27FC236}">
                  <a16:creationId xmlns:a16="http://schemas.microsoft.com/office/drawing/2014/main" id="{B4C45666-B8F5-4C50-86A6-C4C0BE1D6FE0}"/>
                </a:ext>
              </a:extLst>
            </p:cNvPr>
            <p:cNvCxnSpPr>
              <a:cxnSpLocks/>
            </p:cNvCxnSpPr>
            <p:nvPr/>
          </p:nvCxnSpPr>
          <p:spPr>
            <a:xfrm>
              <a:off x="7257256" y="-3562"/>
              <a:ext cx="0" cy="6816938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직선 연결선 6">
              <a:extLst>
                <a:ext uri="{FF2B5EF4-FFF2-40B4-BE49-F238E27FC236}">
                  <a16:creationId xmlns:a16="http://schemas.microsoft.com/office/drawing/2014/main" id="{4860EB04-C536-404F-98C0-823E8ADC86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1952021" y="1563825"/>
              <a:ext cx="9226508" cy="0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0B76F625-D0A3-4C9E-8D76-BC231976DDDC}"/>
              </a:ext>
            </a:extLst>
          </p:cNvPr>
          <p:cNvGrpSpPr/>
          <p:nvPr/>
        </p:nvGrpSpPr>
        <p:grpSpPr>
          <a:xfrm>
            <a:off x="479376" y="908720"/>
            <a:ext cx="6759312" cy="338554"/>
            <a:chOff x="479376" y="-963488"/>
            <a:chExt cx="6759312" cy="338554"/>
          </a:xfrm>
        </p:grpSpPr>
        <p:sp>
          <p:nvSpPr>
            <p:cNvPr id="9" name="사각형: 둥근 모서리 8">
              <a:extLst>
                <a:ext uri="{FF2B5EF4-FFF2-40B4-BE49-F238E27FC236}">
                  <a16:creationId xmlns:a16="http://schemas.microsoft.com/office/drawing/2014/main" id="{F66EE92C-BEAA-4A28-9FFE-528E99678B1D}"/>
                </a:ext>
              </a:extLst>
            </p:cNvPr>
            <p:cNvSpPr/>
            <p:nvPr/>
          </p:nvSpPr>
          <p:spPr>
            <a:xfrm>
              <a:off x="479376" y="-946863"/>
              <a:ext cx="590358" cy="305304"/>
            </a:xfrm>
            <a:prstGeom prst="roundRect">
              <a:avLst>
                <a:gd name="adj" fmla="val 50000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>
                      <a:alpha val="50000"/>
                    </a:schemeClr>
                  </a:solidFill>
                  <a:latin typeface="+mn-ea"/>
                  <a:cs typeface="Arial" panose="020B0604020202020204" pitchFamily="34" charset="0"/>
                </a:rPr>
                <a:t>0</a:t>
              </a:r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C8869CF-0725-41FD-AE4C-2AF26212AA85}"/>
                </a:ext>
              </a:extLst>
            </p:cNvPr>
            <p:cNvSpPr txBox="1"/>
            <p:nvPr/>
          </p:nvSpPr>
          <p:spPr>
            <a:xfrm>
              <a:off x="1127448" y="-963488"/>
              <a:ext cx="6111240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R="0" indent="0" algn="just" fontAlgn="base" latinLnBrk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 sz="1600" kern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defRPr>
              </a:lvl1pPr>
            </a:lstStyle>
            <a:p>
              <a:r>
                <a:rPr lang="ko-KR" altLang="en-US"/>
                <a:t>회원가입</a:t>
              </a:r>
              <a:r>
                <a:rPr lang="en-US" altLang="ko-KR" dirty="0"/>
                <a:t> – </a:t>
              </a:r>
              <a:r>
                <a:rPr lang="ko-KR" altLang="en-US" dirty="0"/>
                <a:t>약관 및 </a:t>
              </a:r>
              <a:r>
                <a:rPr lang="ko-KR" altLang="en-US"/>
                <a:t>정책 동의</a:t>
              </a:r>
              <a:r>
                <a:rPr lang="en-US" altLang="ko-KR" dirty="0"/>
                <a:t>(1)</a:t>
              </a:r>
            </a:p>
          </p:txBody>
        </p:sp>
      </p:grpSp>
      <p:sp>
        <p:nvSpPr>
          <p:cNvPr id="13" name="모서리가 둥근 직사각형 84">
            <a:extLst>
              <a:ext uri="{FF2B5EF4-FFF2-40B4-BE49-F238E27FC236}">
                <a16:creationId xmlns:a16="http://schemas.microsoft.com/office/drawing/2014/main" id="{1EEA2D36-8F09-44ED-A648-1DBE96293C3F}"/>
              </a:ext>
            </a:extLst>
          </p:cNvPr>
          <p:cNvSpPr/>
          <p:nvPr/>
        </p:nvSpPr>
        <p:spPr>
          <a:xfrm>
            <a:off x="644069" y="2991211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1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15" name="모서리가 둥근 직사각형 84">
            <a:extLst>
              <a:ext uri="{FF2B5EF4-FFF2-40B4-BE49-F238E27FC236}">
                <a16:creationId xmlns:a16="http://schemas.microsoft.com/office/drawing/2014/main" id="{DD8C9ED9-F601-489E-A203-674BAEC22F90}"/>
              </a:ext>
            </a:extLst>
          </p:cNvPr>
          <p:cNvSpPr/>
          <p:nvPr/>
        </p:nvSpPr>
        <p:spPr>
          <a:xfrm>
            <a:off x="644069" y="3360924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2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16" name="모서리가 둥근 직사각형 84">
            <a:extLst>
              <a:ext uri="{FF2B5EF4-FFF2-40B4-BE49-F238E27FC236}">
                <a16:creationId xmlns:a16="http://schemas.microsoft.com/office/drawing/2014/main" id="{39E9528F-6D81-4F78-820A-6DABFF842C8B}"/>
              </a:ext>
            </a:extLst>
          </p:cNvPr>
          <p:cNvSpPr/>
          <p:nvPr/>
        </p:nvSpPr>
        <p:spPr>
          <a:xfrm>
            <a:off x="2954206" y="2469526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3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17" name="모서리가 둥근 직사각형 84">
            <a:extLst>
              <a:ext uri="{FF2B5EF4-FFF2-40B4-BE49-F238E27FC236}">
                <a16:creationId xmlns:a16="http://schemas.microsoft.com/office/drawing/2014/main" id="{4A107065-DA6D-435A-8658-AD0036C10978}"/>
              </a:ext>
            </a:extLst>
          </p:cNvPr>
          <p:cNvSpPr/>
          <p:nvPr/>
        </p:nvSpPr>
        <p:spPr>
          <a:xfrm>
            <a:off x="5209728" y="2469526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4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18" name="모서리가 둥근 직사각형 84">
            <a:extLst>
              <a:ext uri="{FF2B5EF4-FFF2-40B4-BE49-F238E27FC236}">
                <a16:creationId xmlns:a16="http://schemas.microsoft.com/office/drawing/2014/main" id="{AE591BBC-9FDE-4D48-84ED-1434882DE1BE}"/>
              </a:ext>
            </a:extLst>
          </p:cNvPr>
          <p:cNvSpPr/>
          <p:nvPr/>
        </p:nvSpPr>
        <p:spPr>
          <a:xfrm>
            <a:off x="775081" y="4030993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5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grpSp>
        <p:nvGrpSpPr>
          <p:cNvPr id="19" name="그룹 18">
            <a:extLst>
              <a:ext uri="{FF2B5EF4-FFF2-40B4-BE49-F238E27FC236}">
                <a16:creationId xmlns:a16="http://schemas.microsoft.com/office/drawing/2014/main" id="{D95E7E98-BB97-4E5E-BC07-A0BDFD3A85D6}"/>
              </a:ext>
            </a:extLst>
          </p:cNvPr>
          <p:cNvGrpSpPr/>
          <p:nvPr/>
        </p:nvGrpSpPr>
        <p:grpSpPr>
          <a:xfrm>
            <a:off x="9304970" y="1196752"/>
            <a:ext cx="1085834" cy="230832"/>
            <a:chOff x="7316687" y="3282664"/>
            <a:chExt cx="1085834" cy="230832"/>
          </a:xfrm>
        </p:grpSpPr>
        <p:sp>
          <p:nvSpPr>
            <p:cNvPr id="20" name="TextBox 174">
              <a:extLst>
                <a:ext uri="{FF2B5EF4-FFF2-40B4-BE49-F238E27FC236}">
                  <a16:creationId xmlns:a16="http://schemas.microsoft.com/office/drawing/2014/main" id="{7641DEAF-7E0E-4F51-9DC4-79FD3B9E5F6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82076" y="3282664"/>
              <a:ext cx="92044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약관 및 정책 동의</a:t>
              </a:r>
            </a:p>
          </p:txBody>
        </p:sp>
        <p:sp>
          <p:nvSpPr>
            <p:cNvPr id="21" name="모서리가 둥근 직사각형 84">
              <a:extLst>
                <a:ext uri="{FF2B5EF4-FFF2-40B4-BE49-F238E27FC236}">
                  <a16:creationId xmlns:a16="http://schemas.microsoft.com/office/drawing/2014/main" id="{FFAC1537-F707-4279-9FDA-DF181D98E41A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1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2" name="그룹 21">
            <a:extLst>
              <a:ext uri="{FF2B5EF4-FFF2-40B4-BE49-F238E27FC236}">
                <a16:creationId xmlns:a16="http://schemas.microsoft.com/office/drawing/2014/main" id="{9EEC994E-A447-4F1D-8AA4-AA87BAB085AB}"/>
              </a:ext>
            </a:extLst>
          </p:cNvPr>
          <p:cNvGrpSpPr/>
          <p:nvPr/>
        </p:nvGrpSpPr>
        <p:grpSpPr>
          <a:xfrm>
            <a:off x="9304970" y="1882716"/>
            <a:ext cx="881560" cy="230832"/>
            <a:chOff x="7316687" y="3282664"/>
            <a:chExt cx="881560" cy="230832"/>
          </a:xfrm>
        </p:grpSpPr>
        <p:sp>
          <p:nvSpPr>
            <p:cNvPr id="23" name="TextBox 174">
              <a:extLst>
                <a:ext uri="{FF2B5EF4-FFF2-40B4-BE49-F238E27FC236}">
                  <a16:creationId xmlns:a16="http://schemas.microsoft.com/office/drawing/2014/main" id="{393BFC8A-A02C-4146-B44D-B34FF7F15A2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70724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약관 및 정책</a:t>
              </a:r>
            </a:p>
          </p:txBody>
        </p:sp>
        <p:sp>
          <p:nvSpPr>
            <p:cNvPr id="24" name="모서리가 둥근 직사각형 84">
              <a:extLst>
                <a:ext uri="{FF2B5EF4-FFF2-40B4-BE49-F238E27FC236}">
                  <a16:creationId xmlns:a16="http://schemas.microsoft.com/office/drawing/2014/main" id="{D3BC0A43-C0FE-432C-B797-965EFEE1428E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2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5" name="TextBox 174">
            <a:extLst>
              <a:ext uri="{FF2B5EF4-FFF2-40B4-BE49-F238E27FC236}">
                <a16:creationId xmlns:a16="http://schemas.microsoft.com/office/drawing/2014/main" id="{0E3DFDD4-BC56-4A2F-987B-00EB5C8BE10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65742" y="2103003"/>
            <a:ext cx="257366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각 약관 및 정책을 누르면 해당 약관 및 정책의 상세화면으로 이동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sp>
        <p:nvSpPr>
          <p:cNvPr id="26" name="TextBox 174">
            <a:extLst>
              <a:ext uri="{FF2B5EF4-FFF2-40B4-BE49-F238E27FC236}">
                <a16:creationId xmlns:a16="http://schemas.microsoft.com/office/drawing/2014/main" id="{5603584B-BD58-42B5-BCD5-E916C4FAEC6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82973" y="1451955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서비스를 제공받기 위한 약관 및 정책 동의 화면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grpSp>
        <p:nvGrpSpPr>
          <p:cNvPr id="27" name="그룹 26">
            <a:extLst>
              <a:ext uri="{FF2B5EF4-FFF2-40B4-BE49-F238E27FC236}">
                <a16:creationId xmlns:a16="http://schemas.microsoft.com/office/drawing/2014/main" id="{FE1D9B09-856C-4657-8A34-B90D70498F54}"/>
              </a:ext>
            </a:extLst>
          </p:cNvPr>
          <p:cNvGrpSpPr/>
          <p:nvPr/>
        </p:nvGrpSpPr>
        <p:grpSpPr>
          <a:xfrm>
            <a:off x="9304970" y="2625726"/>
            <a:ext cx="1575661" cy="230832"/>
            <a:chOff x="7316687" y="3282664"/>
            <a:chExt cx="1575661" cy="230832"/>
          </a:xfrm>
        </p:grpSpPr>
        <p:sp>
          <p:nvSpPr>
            <p:cNvPr id="28" name="TextBox 174">
              <a:extLst>
                <a:ext uri="{FF2B5EF4-FFF2-40B4-BE49-F238E27FC236}">
                  <a16:creationId xmlns:a16="http://schemas.microsoft.com/office/drawing/2014/main" id="{6D37FB27-FBA4-42C5-A590-6D6D38ADB48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1401346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 err="1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마이데이터</a:t>
              </a: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 서비스 약관 상세</a:t>
              </a:r>
            </a:p>
          </p:txBody>
        </p:sp>
        <p:sp>
          <p:nvSpPr>
            <p:cNvPr id="29" name="모서리가 둥근 직사각형 84">
              <a:extLst>
                <a:ext uri="{FF2B5EF4-FFF2-40B4-BE49-F238E27FC236}">
                  <a16:creationId xmlns:a16="http://schemas.microsoft.com/office/drawing/2014/main" id="{560ECE2B-7DBB-47CD-87A3-F053AD1EB682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3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30" name="TextBox 174">
            <a:extLst>
              <a:ext uri="{FF2B5EF4-FFF2-40B4-BE49-F238E27FC236}">
                <a16:creationId xmlns:a16="http://schemas.microsoft.com/office/drawing/2014/main" id="{65138E26-C5B8-4D13-8455-E1F9CF8C62E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65742" y="2846013"/>
            <a:ext cx="257366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스크롤을 아래까지 이동시키면  동의하기 버튼 활성화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grpSp>
        <p:nvGrpSpPr>
          <p:cNvPr id="31" name="그룹 30">
            <a:extLst>
              <a:ext uri="{FF2B5EF4-FFF2-40B4-BE49-F238E27FC236}">
                <a16:creationId xmlns:a16="http://schemas.microsoft.com/office/drawing/2014/main" id="{489FAE98-F02A-4A9B-AD30-3305FCEB73D1}"/>
              </a:ext>
            </a:extLst>
          </p:cNvPr>
          <p:cNvGrpSpPr/>
          <p:nvPr/>
        </p:nvGrpSpPr>
        <p:grpSpPr>
          <a:xfrm>
            <a:off x="9317897" y="3359361"/>
            <a:ext cx="1768021" cy="230832"/>
            <a:chOff x="7316687" y="3282664"/>
            <a:chExt cx="1768021" cy="230832"/>
          </a:xfrm>
        </p:grpSpPr>
        <p:sp>
          <p:nvSpPr>
            <p:cNvPr id="32" name="TextBox 174">
              <a:extLst>
                <a:ext uri="{FF2B5EF4-FFF2-40B4-BE49-F238E27FC236}">
                  <a16:creationId xmlns:a16="http://schemas.microsoft.com/office/drawing/2014/main" id="{53C429E1-30C9-46C2-95A6-99BAD7115E0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1593706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개인정보 수집이용제공 동의 상세</a:t>
              </a:r>
            </a:p>
          </p:txBody>
        </p:sp>
        <p:sp>
          <p:nvSpPr>
            <p:cNvPr id="33" name="모서리가 둥근 직사각형 84">
              <a:extLst>
                <a:ext uri="{FF2B5EF4-FFF2-40B4-BE49-F238E27FC236}">
                  <a16:creationId xmlns:a16="http://schemas.microsoft.com/office/drawing/2014/main" id="{11DE5AA5-F06F-46ED-9D7C-ACAB1576763E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4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34" name="TextBox 174">
            <a:extLst>
              <a:ext uri="{FF2B5EF4-FFF2-40B4-BE49-F238E27FC236}">
                <a16:creationId xmlns:a16="http://schemas.microsoft.com/office/drawing/2014/main" id="{E3BFFB55-EC01-4BDF-A408-8A6285B9ABD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78669" y="3579648"/>
            <a:ext cx="2573667" cy="1000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srgbClr val="FF0000"/>
                </a:solidFill>
                <a:latin typeface="+mn-ea"/>
                <a:ea typeface="+mn-ea"/>
              </a:rPr>
              <a:t>수집 이용 항목 </a:t>
            </a:r>
            <a:br>
              <a:rPr lang="en-US" altLang="ko-KR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srgbClr val="FF0000"/>
                </a:solidFill>
                <a:latin typeface="+mn-ea"/>
                <a:ea typeface="+mn-ea"/>
              </a:rPr>
            </a:br>
            <a:r>
              <a: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srgbClr val="FF0000"/>
                </a:solidFill>
                <a:latin typeface="+mn-ea"/>
                <a:ea typeface="+mn-ea"/>
              </a:rPr>
              <a:t>의료민감정보</a:t>
            </a:r>
            <a:r>
              <a:rPr lang="en-US" altLang="ko-KR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srgbClr val="FF0000"/>
                </a:solidFill>
                <a:latin typeface="+mn-ea"/>
                <a:ea typeface="+mn-ea"/>
              </a:rPr>
              <a:t>,</a:t>
            </a:r>
            <a:r>
              <a: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srgbClr val="FF0000"/>
                </a:solidFill>
                <a:latin typeface="+mn-ea"/>
                <a:ea typeface="+mn-ea"/>
              </a:rPr>
              <a:t> 일반개인정보 동의 필요</a:t>
            </a:r>
            <a:endParaRPr lang="en-US" altLang="ko-KR" sz="900" b="1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srgbClr val="FF0000"/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srgbClr val="FF0000"/>
                </a:solidFill>
                <a:latin typeface="+mn-ea"/>
                <a:ea typeface="+mn-ea"/>
              </a:rPr>
              <a:t>제공 항목</a:t>
            </a:r>
            <a:br>
              <a:rPr lang="en-US" altLang="ko-KR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srgbClr val="FF0000"/>
                </a:solidFill>
                <a:latin typeface="+mn-ea"/>
                <a:ea typeface="+mn-ea"/>
              </a:rPr>
            </a:br>
            <a:r>
              <a: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srgbClr val="FF0000"/>
                </a:solidFill>
                <a:latin typeface="+mn-ea"/>
                <a:ea typeface="+mn-ea"/>
              </a:rPr>
              <a:t>의료민감정보</a:t>
            </a:r>
            <a:r>
              <a:rPr lang="en-US" altLang="ko-KR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srgbClr val="FF0000"/>
                </a:solidFill>
                <a:latin typeface="+mn-ea"/>
                <a:ea typeface="+mn-ea"/>
              </a:rPr>
              <a:t>,</a:t>
            </a:r>
            <a:r>
              <a: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srgbClr val="FF0000"/>
                </a:solidFill>
                <a:latin typeface="+mn-ea"/>
                <a:ea typeface="+mn-ea"/>
              </a:rPr>
              <a:t> 일반개인정보 동의  필요</a:t>
            </a:r>
            <a:endParaRPr lang="en-US" altLang="ko-KR" sz="900" b="1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srgbClr val="FF0000"/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스크롤을 아래까지 이동시키면  동의하기 버튼 활성화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grpSp>
        <p:nvGrpSpPr>
          <p:cNvPr id="35" name="그룹 34">
            <a:extLst>
              <a:ext uri="{FF2B5EF4-FFF2-40B4-BE49-F238E27FC236}">
                <a16:creationId xmlns:a16="http://schemas.microsoft.com/office/drawing/2014/main" id="{B327B991-089C-4DBA-A573-07B371393CA3}"/>
              </a:ext>
            </a:extLst>
          </p:cNvPr>
          <p:cNvGrpSpPr/>
          <p:nvPr/>
        </p:nvGrpSpPr>
        <p:grpSpPr>
          <a:xfrm>
            <a:off x="9315900" y="4776483"/>
            <a:ext cx="1521159" cy="230832"/>
            <a:chOff x="7316687" y="3282664"/>
            <a:chExt cx="1521159" cy="230832"/>
          </a:xfrm>
        </p:grpSpPr>
        <p:sp>
          <p:nvSpPr>
            <p:cNvPr id="36" name="TextBox 174">
              <a:extLst>
                <a:ext uri="{FF2B5EF4-FFF2-40B4-BE49-F238E27FC236}">
                  <a16:creationId xmlns:a16="http://schemas.microsoft.com/office/drawing/2014/main" id="{1BE7EE49-CA5B-49C8-A110-8AFE0EC4B13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1346844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약관 및 정책 동의 완료 버튼</a:t>
              </a:r>
            </a:p>
          </p:txBody>
        </p:sp>
        <p:sp>
          <p:nvSpPr>
            <p:cNvPr id="37" name="모서리가 둥근 직사각형 84">
              <a:extLst>
                <a:ext uri="{FF2B5EF4-FFF2-40B4-BE49-F238E27FC236}">
                  <a16:creationId xmlns:a16="http://schemas.microsoft.com/office/drawing/2014/main" id="{091E3DF8-45A7-460C-B0BA-AC71DF7C8EE5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5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38" name="TextBox 174">
            <a:extLst>
              <a:ext uri="{FF2B5EF4-FFF2-40B4-BE49-F238E27FC236}">
                <a16:creationId xmlns:a16="http://schemas.microsoft.com/office/drawing/2014/main" id="{AB0F9E2E-BB4A-4205-AC75-C14830FEF54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76672" y="4996770"/>
            <a:ext cx="2573667" cy="4078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모든 약관 및 정책 동의 시 활성화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클릭 시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약관 및 정책에 대한 전자서명 팝업 표출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81639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그림 10" descr="텍스트, 폰트, 번호, 스크린샷이(가) 표시된 사진&#10;&#10;자동 생성된 설명">
            <a:extLst>
              <a:ext uri="{FF2B5EF4-FFF2-40B4-BE49-F238E27FC236}">
                <a16:creationId xmlns:a16="http://schemas.microsoft.com/office/drawing/2014/main" id="{D3C2957D-981F-A012-756C-85D3A68C71DA}"/>
              </a:ext>
            </a:extLst>
          </p:cNvPr>
          <p:cNvPicPr>
            <a:picLocks/>
          </p:cNvPicPr>
          <p:nvPr/>
        </p:nvPicPr>
        <p:blipFill rotWithShape="1">
          <a:blip r:embed="rId2"/>
          <a:srcRect t="38" b="6154"/>
          <a:stretch/>
        </p:blipFill>
        <p:spPr>
          <a:xfrm>
            <a:off x="597600" y="2064428"/>
            <a:ext cx="2052000" cy="4031999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sp>
        <p:nvSpPr>
          <p:cNvPr id="2" name="제목 1">
            <a:extLst>
              <a:ext uri="{FF2B5EF4-FFF2-40B4-BE49-F238E27FC236}">
                <a16:creationId xmlns:a16="http://schemas.microsoft.com/office/drawing/2014/main" id="{0C5286BA-92CE-41FB-BB05-BE0F5BBA1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사용자 인증</a:t>
            </a:r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B73B35C2-EB8A-4573-B037-7CC6DF06F86A}"/>
              </a:ext>
            </a:extLst>
          </p:cNvPr>
          <p:cNvGrpSpPr/>
          <p:nvPr/>
        </p:nvGrpSpPr>
        <p:grpSpPr>
          <a:xfrm>
            <a:off x="0" y="-3562"/>
            <a:ext cx="9226508" cy="6816938"/>
            <a:chOff x="-1952021" y="-3562"/>
            <a:chExt cx="9226508" cy="6816938"/>
          </a:xfrm>
        </p:grpSpPr>
        <p:cxnSp>
          <p:nvCxnSpPr>
            <p:cNvPr id="6" name="직선 연결선 5">
              <a:extLst>
                <a:ext uri="{FF2B5EF4-FFF2-40B4-BE49-F238E27FC236}">
                  <a16:creationId xmlns:a16="http://schemas.microsoft.com/office/drawing/2014/main" id="{B4C45666-B8F5-4C50-86A6-C4C0BE1D6FE0}"/>
                </a:ext>
              </a:extLst>
            </p:cNvPr>
            <p:cNvCxnSpPr>
              <a:cxnSpLocks/>
            </p:cNvCxnSpPr>
            <p:nvPr/>
          </p:nvCxnSpPr>
          <p:spPr>
            <a:xfrm>
              <a:off x="7257256" y="-3562"/>
              <a:ext cx="0" cy="6816938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직선 연결선 6">
              <a:extLst>
                <a:ext uri="{FF2B5EF4-FFF2-40B4-BE49-F238E27FC236}">
                  <a16:creationId xmlns:a16="http://schemas.microsoft.com/office/drawing/2014/main" id="{4860EB04-C536-404F-98C0-823E8ADC86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1952021" y="1563825"/>
              <a:ext cx="9226508" cy="0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0B76F625-D0A3-4C9E-8D76-BC231976DDDC}"/>
              </a:ext>
            </a:extLst>
          </p:cNvPr>
          <p:cNvGrpSpPr/>
          <p:nvPr/>
        </p:nvGrpSpPr>
        <p:grpSpPr>
          <a:xfrm>
            <a:off x="479376" y="908720"/>
            <a:ext cx="6759312" cy="338554"/>
            <a:chOff x="479376" y="-963488"/>
            <a:chExt cx="6759312" cy="338554"/>
          </a:xfrm>
        </p:grpSpPr>
        <p:sp>
          <p:nvSpPr>
            <p:cNvPr id="9" name="사각형: 둥근 모서리 8">
              <a:extLst>
                <a:ext uri="{FF2B5EF4-FFF2-40B4-BE49-F238E27FC236}">
                  <a16:creationId xmlns:a16="http://schemas.microsoft.com/office/drawing/2014/main" id="{F66EE92C-BEAA-4A28-9FFE-528E99678B1D}"/>
                </a:ext>
              </a:extLst>
            </p:cNvPr>
            <p:cNvSpPr/>
            <p:nvPr/>
          </p:nvSpPr>
          <p:spPr>
            <a:xfrm>
              <a:off x="479376" y="-946863"/>
              <a:ext cx="590358" cy="305304"/>
            </a:xfrm>
            <a:prstGeom prst="roundRect">
              <a:avLst>
                <a:gd name="adj" fmla="val 50000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>
                      <a:alpha val="50000"/>
                    </a:schemeClr>
                  </a:solidFill>
                  <a:latin typeface="+mn-ea"/>
                  <a:cs typeface="Arial" panose="020B0604020202020204" pitchFamily="34" charset="0"/>
                </a:rPr>
                <a:t>0</a:t>
              </a:r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C8869CF-0725-41FD-AE4C-2AF26212AA85}"/>
                </a:ext>
              </a:extLst>
            </p:cNvPr>
            <p:cNvSpPr txBox="1"/>
            <p:nvPr/>
          </p:nvSpPr>
          <p:spPr>
            <a:xfrm>
              <a:off x="1127448" y="-963488"/>
              <a:ext cx="6111240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R="0" indent="0" algn="just" fontAlgn="base" latinLnBrk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 sz="1600" kern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defRPr>
              </a:lvl1pPr>
            </a:lstStyle>
            <a:p>
              <a:r>
                <a:rPr lang="ko-KR" altLang="en-US"/>
                <a:t>회원가입</a:t>
              </a:r>
              <a:r>
                <a:rPr lang="en-US" altLang="ko-KR" dirty="0"/>
                <a:t> – </a:t>
              </a:r>
              <a:r>
                <a:rPr lang="ko-KR" altLang="en-US" dirty="0"/>
                <a:t>약관 및 </a:t>
              </a:r>
              <a:r>
                <a:rPr lang="ko-KR" altLang="en-US"/>
                <a:t>정책 동의</a:t>
              </a:r>
              <a:r>
                <a:rPr lang="en-US" altLang="ko-KR" dirty="0"/>
                <a:t>(2)</a:t>
              </a:r>
            </a:p>
          </p:txBody>
        </p:sp>
      </p:grpSp>
      <p:sp>
        <p:nvSpPr>
          <p:cNvPr id="40" name="모서리가 둥근 직사각형 84">
            <a:extLst>
              <a:ext uri="{FF2B5EF4-FFF2-40B4-BE49-F238E27FC236}">
                <a16:creationId xmlns:a16="http://schemas.microsoft.com/office/drawing/2014/main" id="{773290B0-FED4-43E8-80D6-149D432DFC95}"/>
              </a:ext>
            </a:extLst>
          </p:cNvPr>
          <p:cNvSpPr/>
          <p:nvPr/>
        </p:nvSpPr>
        <p:spPr>
          <a:xfrm>
            <a:off x="999293" y="3886977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1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41" name="모서리가 둥근 직사각형 84">
            <a:extLst>
              <a:ext uri="{FF2B5EF4-FFF2-40B4-BE49-F238E27FC236}">
                <a16:creationId xmlns:a16="http://schemas.microsoft.com/office/drawing/2014/main" id="{A17ADA97-599C-45BA-9306-072BC3ADED20}"/>
              </a:ext>
            </a:extLst>
          </p:cNvPr>
          <p:cNvSpPr/>
          <p:nvPr/>
        </p:nvSpPr>
        <p:spPr>
          <a:xfrm>
            <a:off x="1843852" y="5070088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2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42" name="모서리가 둥근 직사각형 84">
            <a:extLst>
              <a:ext uri="{FF2B5EF4-FFF2-40B4-BE49-F238E27FC236}">
                <a16:creationId xmlns:a16="http://schemas.microsoft.com/office/drawing/2014/main" id="{96A27E12-5D9B-4D80-95C8-16EDB5EC5752}"/>
              </a:ext>
            </a:extLst>
          </p:cNvPr>
          <p:cNvSpPr/>
          <p:nvPr/>
        </p:nvSpPr>
        <p:spPr>
          <a:xfrm>
            <a:off x="999292" y="5070087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3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grpSp>
        <p:nvGrpSpPr>
          <p:cNvPr id="59" name="그룹 58">
            <a:extLst>
              <a:ext uri="{FF2B5EF4-FFF2-40B4-BE49-F238E27FC236}">
                <a16:creationId xmlns:a16="http://schemas.microsoft.com/office/drawing/2014/main" id="{67D13E6B-C220-4A2B-BEE8-34ABAD46D556}"/>
              </a:ext>
            </a:extLst>
          </p:cNvPr>
          <p:cNvGrpSpPr/>
          <p:nvPr/>
        </p:nvGrpSpPr>
        <p:grpSpPr>
          <a:xfrm>
            <a:off x="9299637" y="1196752"/>
            <a:ext cx="830956" cy="230832"/>
            <a:chOff x="7316687" y="3282664"/>
            <a:chExt cx="830956" cy="230832"/>
          </a:xfrm>
        </p:grpSpPr>
        <p:sp>
          <p:nvSpPr>
            <p:cNvPr id="60" name="TextBox 174">
              <a:extLst>
                <a:ext uri="{FF2B5EF4-FFF2-40B4-BE49-F238E27FC236}">
                  <a16:creationId xmlns:a16="http://schemas.microsoft.com/office/drawing/2014/main" id="{8B7A0C35-419A-4368-A5DD-D0E3DC76B40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82076" y="3282664"/>
              <a:ext cx="665567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전자서명란</a:t>
              </a:r>
            </a:p>
          </p:txBody>
        </p:sp>
        <p:sp>
          <p:nvSpPr>
            <p:cNvPr id="61" name="모서리가 둥근 직사각형 84">
              <a:extLst>
                <a:ext uri="{FF2B5EF4-FFF2-40B4-BE49-F238E27FC236}">
                  <a16:creationId xmlns:a16="http://schemas.microsoft.com/office/drawing/2014/main" id="{CDFDC0BF-F65A-4B54-A9F2-9C967024843D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1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62" name="그룹 61">
            <a:extLst>
              <a:ext uri="{FF2B5EF4-FFF2-40B4-BE49-F238E27FC236}">
                <a16:creationId xmlns:a16="http://schemas.microsoft.com/office/drawing/2014/main" id="{E9A2D208-FDF0-4163-97BF-AF5D5F946E6D}"/>
              </a:ext>
            </a:extLst>
          </p:cNvPr>
          <p:cNvGrpSpPr/>
          <p:nvPr/>
        </p:nvGrpSpPr>
        <p:grpSpPr>
          <a:xfrm>
            <a:off x="9299637" y="1844824"/>
            <a:ext cx="977740" cy="230832"/>
            <a:chOff x="7316687" y="3282664"/>
            <a:chExt cx="977740" cy="230832"/>
          </a:xfrm>
        </p:grpSpPr>
        <p:sp>
          <p:nvSpPr>
            <p:cNvPr id="63" name="TextBox 174">
              <a:extLst>
                <a:ext uri="{FF2B5EF4-FFF2-40B4-BE49-F238E27FC236}">
                  <a16:creationId xmlns:a16="http://schemas.microsoft.com/office/drawing/2014/main" id="{3ADC613B-DC9F-4485-95D3-85E7C95C1E2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80342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서명 완료 버튼</a:t>
              </a:r>
            </a:p>
          </p:txBody>
        </p:sp>
        <p:sp>
          <p:nvSpPr>
            <p:cNvPr id="64" name="모서리가 둥근 직사각형 84">
              <a:extLst>
                <a:ext uri="{FF2B5EF4-FFF2-40B4-BE49-F238E27FC236}">
                  <a16:creationId xmlns:a16="http://schemas.microsoft.com/office/drawing/2014/main" id="{F303568A-AE05-4DC9-B18B-9071ED563147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2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65" name="TextBox 174">
            <a:extLst>
              <a:ext uri="{FF2B5EF4-FFF2-40B4-BE49-F238E27FC236}">
                <a16:creationId xmlns:a16="http://schemas.microsoft.com/office/drawing/2014/main" id="{1FD72F6E-E5FD-47E1-A4EB-044FBD6F6C8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60409" y="2065111"/>
            <a:ext cx="2573667" cy="723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3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클릭 시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본인의 전자서명이 포함된 약관 및 정책 동의 서 파일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(PDF)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생성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3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회원가입 완료 후 근로복지공단에 전송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3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회원가입 완료 후 </a:t>
            </a:r>
            <a:r>
              <a:rPr lang="ko-KR" altLang="en-US" sz="900" spc="-150" dirty="0" err="1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마이데이터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플랫폼에 업로드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sp>
        <p:nvSpPr>
          <p:cNvPr id="66" name="TextBox 174">
            <a:extLst>
              <a:ext uri="{FF2B5EF4-FFF2-40B4-BE49-F238E27FC236}">
                <a16:creationId xmlns:a16="http://schemas.microsoft.com/office/drawing/2014/main" id="{1BE9E7C0-AFF3-4B4B-84FA-F9CF898D435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77640" y="1451955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3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약관 및 정책 동의 내용에 대한 본인 전자서명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grpSp>
        <p:nvGrpSpPr>
          <p:cNvPr id="67" name="그룹 66">
            <a:extLst>
              <a:ext uri="{FF2B5EF4-FFF2-40B4-BE49-F238E27FC236}">
                <a16:creationId xmlns:a16="http://schemas.microsoft.com/office/drawing/2014/main" id="{6737D075-8197-493E-9342-429B41139599}"/>
              </a:ext>
            </a:extLst>
          </p:cNvPr>
          <p:cNvGrpSpPr/>
          <p:nvPr/>
        </p:nvGrpSpPr>
        <p:grpSpPr>
          <a:xfrm>
            <a:off x="9299637" y="2980192"/>
            <a:ext cx="851795" cy="230832"/>
            <a:chOff x="7316687" y="3282664"/>
            <a:chExt cx="851795" cy="230832"/>
          </a:xfrm>
        </p:grpSpPr>
        <p:sp>
          <p:nvSpPr>
            <p:cNvPr id="68" name="TextBox 174">
              <a:extLst>
                <a:ext uri="{FF2B5EF4-FFF2-40B4-BE49-F238E27FC236}">
                  <a16:creationId xmlns:a16="http://schemas.microsoft.com/office/drawing/2014/main" id="{B8EBAA4F-CE4D-4257-9211-8C499F64F1E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82076" y="3282664"/>
              <a:ext cx="686406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초기화 버튼</a:t>
              </a:r>
            </a:p>
          </p:txBody>
        </p:sp>
        <p:sp>
          <p:nvSpPr>
            <p:cNvPr id="69" name="모서리가 둥근 직사각형 84">
              <a:extLst>
                <a:ext uri="{FF2B5EF4-FFF2-40B4-BE49-F238E27FC236}">
                  <a16:creationId xmlns:a16="http://schemas.microsoft.com/office/drawing/2014/main" id="{C50648AE-E35F-424C-BC6B-32275617CE53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3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70" name="TextBox 174">
            <a:extLst>
              <a:ext uri="{FF2B5EF4-FFF2-40B4-BE49-F238E27FC236}">
                <a16:creationId xmlns:a16="http://schemas.microsoft.com/office/drawing/2014/main" id="{3B093E6F-64DC-4372-AC1A-CAAFC10CEDF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77640" y="3235395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3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클릭 시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전자서명란 초기화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49533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그림 11" descr="텍스트, 스크린샷, 폰트, 디자인이(가) 표시된 사진&#10;&#10;자동 생성된 설명">
            <a:extLst>
              <a:ext uri="{FF2B5EF4-FFF2-40B4-BE49-F238E27FC236}">
                <a16:creationId xmlns:a16="http://schemas.microsoft.com/office/drawing/2014/main" id="{81CF71F0-F68E-2C1F-EB10-3BFE511F1A65}"/>
              </a:ext>
            </a:extLst>
          </p:cNvPr>
          <p:cNvPicPr>
            <a:picLocks/>
          </p:cNvPicPr>
          <p:nvPr/>
        </p:nvPicPr>
        <p:blipFill rotWithShape="1">
          <a:blip r:embed="rId2"/>
          <a:srcRect t="38" b="6154"/>
          <a:stretch/>
        </p:blipFill>
        <p:spPr>
          <a:xfrm>
            <a:off x="597600" y="2064429"/>
            <a:ext cx="2052000" cy="4031999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sp>
        <p:nvSpPr>
          <p:cNvPr id="2" name="제목 1">
            <a:extLst>
              <a:ext uri="{FF2B5EF4-FFF2-40B4-BE49-F238E27FC236}">
                <a16:creationId xmlns:a16="http://schemas.microsoft.com/office/drawing/2014/main" id="{0C5286BA-92CE-41FB-BB05-BE0F5BBA1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사용자 인증</a:t>
            </a:r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B73B35C2-EB8A-4573-B037-7CC6DF06F86A}"/>
              </a:ext>
            </a:extLst>
          </p:cNvPr>
          <p:cNvGrpSpPr/>
          <p:nvPr/>
        </p:nvGrpSpPr>
        <p:grpSpPr>
          <a:xfrm>
            <a:off x="0" y="-3562"/>
            <a:ext cx="9226508" cy="6816938"/>
            <a:chOff x="-1952021" y="-3562"/>
            <a:chExt cx="9226508" cy="6816938"/>
          </a:xfrm>
        </p:grpSpPr>
        <p:cxnSp>
          <p:nvCxnSpPr>
            <p:cNvPr id="6" name="직선 연결선 5">
              <a:extLst>
                <a:ext uri="{FF2B5EF4-FFF2-40B4-BE49-F238E27FC236}">
                  <a16:creationId xmlns:a16="http://schemas.microsoft.com/office/drawing/2014/main" id="{B4C45666-B8F5-4C50-86A6-C4C0BE1D6FE0}"/>
                </a:ext>
              </a:extLst>
            </p:cNvPr>
            <p:cNvCxnSpPr>
              <a:cxnSpLocks/>
            </p:cNvCxnSpPr>
            <p:nvPr/>
          </p:nvCxnSpPr>
          <p:spPr>
            <a:xfrm>
              <a:off x="7257256" y="-3562"/>
              <a:ext cx="0" cy="6816938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직선 연결선 6">
              <a:extLst>
                <a:ext uri="{FF2B5EF4-FFF2-40B4-BE49-F238E27FC236}">
                  <a16:creationId xmlns:a16="http://schemas.microsoft.com/office/drawing/2014/main" id="{4860EB04-C536-404F-98C0-823E8ADC86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1952021" y="1563825"/>
              <a:ext cx="9226508" cy="0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0B76F625-D0A3-4C9E-8D76-BC231976DDDC}"/>
              </a:ext>
            </a:extLst>
          </p:cNvPr>
          <p:cNvGrpSpPr/>
          <p:nvPr/>
        </p:nvGrpSpPr>
        <p:grpSpPr>
          <a:xfrm>
            <a:off x="479376" y="908720"/>
            <a:ext cx="6759312" cy="338554"/>
            <a:chOff x="479376" y="-963488"/>
            <a:chExt cx="6759312" cy="338554"/>
          </a:xfrm>
        </p:grpSpPr>
        <p:sp>
          <p:nvSpPr>
            <p:cNvPr id="9" name="사각형: 둥근 모서리 8">
              <a:extLst>
                <a:ext uri="{FF2B5EF4-FFF2-40B4-BE49-F238E27FC236}">
                  <a16:creationId xmlns:a16="http://schemas.microsoft.com/office/drawing/2014/main" id="{F66EE92C-BEAA-4A28-9FFE-528E99678B1D}"/>
                </a:ext>
              </a:extLst>
            </p:cNvPr>
            <p:cNvSpPr/>
            <p:nvPr/>
          </p:nvSpPr>
          <p:spPr>
            <a:xfrm>
              <a:off x="479376" y="-946863"/>
              <a:ext cx="590358" cy="305304"/>
            </a:xfrm>
            <a:prstGeom prst="roundRect">
              <a:avLst>
                <a:gd name="adj" fmla="val 50000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>
                      <a:alpha val="50000"/>
                    </a:schemeClr>
                  </a:solidFill>
                  <a:latin typeface="+mn-ea"/>
                  <a:cs typeface="Arial" panose="020B0604020202020204" pitchFamily="34" charset="0"/>
                </a:rPr>
                <a:t>0</a:t>
              </a:r>
              <a:r>
                <a:rPr lang="en-US" altLang="ko-KR" sz="1400" b="1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  <a:cs typeface="Arial" panose="020B0604020202020204" pitchFamily="34" charset="0"/>
                </a:rPr>
                <a:t>2</a:t>
              </a:r>
              <a:endParaRPr lang="en-US" altLang="ko-KR" sz="1400" b="1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cs typeface="Arial" panose="020B0604020202020204" pitchFamily="34" charset="0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C8869CF-0725-41FD-AE4C-2AF26212AA85}"/>
                </a:ext>
              </a:extLst>
            </p:cNvPr>
            <p:cNvSpPr txBox="1"/>
            <p:nvPr/>
          </p:nvSpPr>
          <p:spPr>
            <a:xfrm>
              <a:off x="1127448" y="-963488"/>
              <a:ext cx="6111240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R="0" indent="0" algn="just" fontAlgn="base" latinLnBrk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 sz="1600" kern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defRPr>
              </a:lvl1pPr>
            </a:lstStyle>
            <a:p>
              <a:r>
                <a:rPr lang="ko-KR" altLang="en-US"/>
                <a:t>로그인</a:t>
              </a:r>
              <a:endParaRPr lang="en-US" altLang="ko-KR" dirty="0"/>
            </a:p>
          </p:txBody>
        </p:sp>
      </p:grpSp>
      <p:sp>
        <p:nvSpPr>
          <p:cNvPr id="26" name="모서리가 둥근 직사각형 84">
            <a:extLst>
              <a:ext uri="{FF2B5EF4-FFF2-40B4-BE49-F238E27FC236}">
                <a16:creationId xmlns:a16="http://schemas.microsoft.com/office/drawing/2014/main" id="{19A80B50-F331-4EE2-AD58-B92A0422F85E}"/>
              </a:ext>
            </a:extLst>
          </p:cNvPr>
          <p:cNvSpPr/>
          <p:nvPr/>
        </p:nvSpPr>
        <p:spPr>
          <a:xfrm>
            <a:off x="576918" y="3670382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1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27" name="모서리가 둥근 직사각형 84">
            <a:extLst>
              <a:ext uri="{FF2B5EF4-FFF2-40B4-BE49-F238E27FC236}">
                <a16:creationId xmlns:a16="http://schemas.microsoft.com/office/drawing/2014/main" id="{90F485D7-47AB-4CD3-BCB7-BBE7D1BC15CC}"/>
              </a:ext>
            </a:extLst>
          </p:cNvPr>
          <p:cNvSpPr/>
          <p:nvPr/>
        </p:nvSpPr>
        <p:spPr>
          <a:xfrm>
            <a:off x="576919" y="4468578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2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28" name="모서리가 둥근 직사각형 84">
            <a:extLst>
              <a:ext uri="{FF2B5EF4-FFF2-40B4-BE49-F238E27FC236}">
                <a16:creationId xmlns:a16="http://schemas.microsoft.com/office/drawing/2014/main" id="{F0DE56CF-6DD7-4633-8A75-1852E488F117}"/>
              </a:ext>
            </a:extLst>
          </p:cNvPr>
          <p:cNvSpPr/>
          <p:nvPr/>
        </p:nvSpPr>
        <p:spPr>
          <a:xfrm>
            <a:off x="576917" y="4797152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3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grpSp>
        <p:nvGrpSpPr>
          <p:cNvPr id="29" name="그룹 28">
            <a:extLst>
              <a:ext uri="{FF2B5EF4-FFF2-40B4-BE49-F238E27FC236}">
                <a16:creationId xmlns:a16="http://schemas.microsoft.com/office/drawing/2014/main" id="{E6D46E35-ABB7-45EC-A75F-9D9EDD5757D1}"/>
              </a:ext>
            </a:extLst>
          </p:cNvPr>
          <p:cNvGrpSpPr/>
          <p:nvPr/>
        </p:nvGrpSpPr>
        <p:grpSpPr>
          <a:xfrm>
            <a:off x="9322200" y="2217830"/>
            <a:ext cx="860721" cy="230832"/>
            <a:chOff x="7316687" y="3282664"/>
            <a:chExt cx="860721" cy="230832"/>
          </a:xfrm>
        </p:grpSpPr>
        <p:sp>
          <p:nvSpPr>
            <p:cNvPr id="30" name="TextBox 174">
              <a:extLst>
                <a:ext uri="{FF2B5EF4-FFF2-40B4-BE49-F238E27FC236}">
                  <a16:creationId xmlns:a16="http://schemas.microsoft.com/office/drawing/2014/main" id="{9AA59F6E-37B0-4A98-882F-EA8C6CD56F1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686406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로그인 버튼</a:t>
              </a:r>
            </a:p>
          </p:txBody>
        </p:sp>
        <p:sp>
          <p:nvSpPr>
            <p:cNvPr id="31" name="모서리가 둥근 직사각형 84">
              <a:extLst>
                <a:ext uri="{FF2B5EF4-FFF2-40B4-BE49-F238E27FC236}">
                  <a16:creationId xmlns:a16="http://schemas.microsoft.com/office/drawing/2014/main" id="{0479AFA3-74E1-411D-AF80-68C40BB5A4D6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2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2" name="그룹 31">
            <a:extLst>
              <a:ext uri="{FF2B5EF4-FFF2-40B4-BE49-F238E27FC236}">
                <a16:creationId xmlns:a16="http://schemas.microsoft.com/office/drawing/2014/main" id="{45411F7F-4232-4277-9BFD-9B939A7682E0}"/>
              </a:ext>
            </a:extLst>
          </p:cNvPr>
          <p:cNvGrpSpPr/>
          <p:nvPr/>
        </p:nvGrpSpPr>
        <p:grpSpPr>
          <a:xfrm>
            <a:off x="9282973" y="1196752"/>
            <a:ext cx="2573667" cy="805062"/>
            <a:chOff x="7031364" y="0"/>
            <a:chExt cx="2573667" cy="805062"/>
          </a:xfrm>
        </p:grpSpPr>
        <p:grpSp>
          <p:nvGrpSpPr>
            <p:cNvPr id="33" name="그룹 32">
              <a:extLst>
                <a:ext uri="{FF2B5EF4-FFF2-40B4-BE49-F238E27FC236}">
                  <a16:creationId xmlns:a16="http://schemas.microsoft.com/office/drawing/2014/main" id="{EEF00DCD-EE0F-4056-829C-6F664D4478E0}"/>
                </a:ext>
              </a:extLst>
            </p:cNvPr>
            <p:cNvGrpSpPr/>
            <p:nvPr/>
          </p:nvGrpSpPr>
          <p:grpSpPr>
            <a:xfrm>
              <a:off x="7070591" y="0"/>
              <a:ext cx="1064994" cy="230832"/>
              <a:chOff x="7316687" y="3282664"/>
              <a:chExt cx="1064994" cy="230832"/>
            </a:xfrm>
          </p:grpSpPr>
          <p:sp>
            <p:nvSpPr>
              <p:cNvPr id="35" name="TextBox 174">
                <a:extLst>
                  <a:ext uri="{FF2B5EF4-FFF2-40B4-BE49-F238E27FC236}">
                    <a16:creationId xmlns:a16="http://schemas.microsoft.com/office/drawing/2014/main" id="{ED65C534-17A2-45FE-A19D-01AFA2E8682C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482076" y="3282664"/>
                <a:ext cx="899605" cy="2308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>
                  <a:defRPr/>
                </a:pPr>
                <a:r>
                  <a:rPr lang="ko-KR" altLang="en-US" sz="900" b="1" spc="-150" dirty="0">
                    <a:ln>
                      <a:solidFill>
                        <a:srgbClr val="5B9BD5">
                          <a:shade val="50000"/>
                          <a:alpha val="0"/>
                        </a:srgbClr>
                      </a:solidFill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+mn-ea"/>
                    <a:ea typeface="+mn-ea"/>
                  </a:rPr>
                  <a:t>로그인 정보 입력</a:t>
                </a:r>
              </a:p>
            </p:txBody>
          </p:sp>
          <p:sp>
            <p:nvSpPr>
              <p:cNvPr id="36" name="모서리가 둥근 직사각형 84">
                <a:extLst>
                  <a:ext uri="{FF2B5EF4-FFF2-40B4-BE49-F238E27FC236}">
                    <a16:creationId xmlns:a16="http://schemas.microsoft.com/office/drawing/2014/main" id="{0D3DABAC-C698-4470-9903-693AA9210118}"/>
                  </a:ext>
                </a:extLst>
              </p:cNvPr>
              <p:cNvSpPr/>
              <p:nvPr/>
            </p:nvSpPr>
            <p:spPr>
              <a:xfrm>
                <a:off x="7316687" y="3317910"/>
                <a:ext cx="185041" cy="185041"/>
              </a:xfrm>
              <a:prstGeom prst="roundRect">
                <a:avLst/>
              </a:prstGeom>
              <a:solidFill>
                <a:srgbClr val="627EA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r>
                  <a:rPr lang="en-US" altLang="ko-KR" sz="900" spc="-150" dirty="0">
                    <a:ln>
                      <a:solidFill>
                        <a:srgbClr val="5B9BD5">
                          <a:shade val="50000"/>
                          <a:alpha val="0"/>
                        </a:srgbClr>
                      </a:solidFill>
                    </a:ln>
                    <a:solidFill>
                      <a:prstClr val="white"/>
                    </a:solidFill>
                    <a:latin typeface="+mn-ea"/>
                    <a:cs typeface="Arial" panose="020B0604020202020204" pitchFamily="34" charset="0"/>
                  </a:rPr>
                  <a:t>1</a:t>
                </a:r>
                <a:endParaRPr lang="ko-KR" altLang="en-US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34" name="TextBox 174">
              <a:extLst>
                <a:ext uri="{FF2B5EF4-FFF2-40B4-BE49-F238E27FC236}">
                  <a16:creationId xmlns:a16="http://schemas.microsoft.com/office/drawing/2014/main" id="{0ABB82D5-9981-4ADE-B0D0-8E89657423C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031364" y="220287"/>
              <a:ext cx="2573667" cy="5847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>
                <a:spcBef>
                  <a:spcPts val="300"/>
                </a:spcBef>
                <a:buClr>
                  <a:srgbClr val="D0A660"/>
                </a:buClr>
                <a:buSzPct val="100000"/>
                <a:defRPr/>
              </a:pPr>
              <a:r>
                <a:rPr lang="en-US" altLang="ko-KR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[</a:t>
              </a: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필수 입력정보</a:t>
              </a:r>
              <a:r>
                <a:rPr lang="en-US" altLang="ko-KR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]</a:t>
              </a:r>
            </a:p>
            <a:p>
              <a:pPr marL="176213" indent="-176213">
                <a:spcBef>
                  <a:spcPts val="300"/>
                </a:spcBef>
                <a:buClr>
                  <a:srgbClr val="D0A660"/>
                </a:buClr>
                <a:buSzPct val="100000"/>
                <a:buBlip>
                  <a:blip r:embed="rId3"/>
                </a:buBlip>
                <a:defRPr/>
              </a:pPr>
              <a:r>
                <a:rPr lang="ko-KR" altLang="en-US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아이디</a:t>
              </a:r>
              <a:endPara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  <a:p>
              <a:pPr marL="176213" indent="-176213">
                <a:spcBef>
                  <a:spcPts val="300"/>
                </a:spcBef>
                <a:buClr>
                  <a:srgbClr val="D0A660"/>
                </a:buClr>
                <a:buSzPct val="100000"/>
                <a:buBlip>
                  <a:blip r:embed="rId3"/>
                </a:buBlip>
                <a:defRPr/>
              </a:pPr>
              <a:r>
                <a:rPr lang="ko-KR" altLang="en-US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비밀번호</a:t>
              </a:r>
              <a:endPara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</p:grpSp>
      <p:grpSp>
        <p:nvGrpSpPr>
          <p:cNvPr id="37" name="그룹 36">
            <a:extLst>
              <a:ext uri="{FF2B5EF4-FFF2-40B4-BE49-F238E27FC236}">
                <a16:creationId xmlns:a16="http://schemas.microsoft.com/office/drawing/2014/main" id="{83CAF024-7204-42F5-8F05-B0EF76DCF3FB}"/>
              </a:ext>
            </a:extLst>
          </p:cNvPr>
          <p:cNvGrpSpPr/>
          <p:nvPr/>
        </p:nvGrpSpPr>
        <p:grpSpPr>
          <a:xfrm>
            <a:off x="9323054" y="3096161"/>
            <a:ext cx="860721" cy="230832"/>
            <a:chOff x="7316687" y="3282664"/>
            <a:chExt cx="860721" cy="230832"/>
          </a:xfrm>
        </p:grpSpPr>
        <p:sp>
          <p:nvSpPr>
            <p:cNvPr id="38" name="TextBox 174">
              <a:extLst>
                <a:ext uri="{FF2B5EF4-FFF2-40B4-BE49-F238E27FC236}">
                  <a16:creationId xmlns:a16="http://schemas.microsoft.com/office/drawing/2014/main" id="{9AA137BC-0D63-4057-94E7-D8CC373CF68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686406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로그인 버튼</a:t>
              </a:r>
            </a:p>
          </p:txBody>
        </p:sp>
        <p:sp>
          <p:nvSpPr>
            <p:cNvPr id="43" name="모서리가 둥근 직사각형 84">
              <a:extLst>
                <a:ext uri="{FF2B5EF4-FFF2-40B4-BE49-F238E27FC236}">
                  <a16:creationId xmlns:a16="http://schemas.microsoft.com/office/drawing/2014/main" id="{ACC4E1AB-7F97-402F-A834-F5C61331C85A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3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44" name="TextBox 174">
            <a:extLst>
              <a:ext uri="{FF2B5EF4-FFF2-40B4-BE49-F238E27FC236}">
                <a16:creationId xmlns:a16="http://schemas.microsoft.com/office/drawing/2014/main" id="{826A55C4-69A1-4B05-8827-7843F6839B9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82973" y="3364830"/>
            <a:ext cx="2573667" cy="1000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3"/>
              </a:buBlip>
              <a:defRPr/>
            </a:pPr>
            <a:r>
              <a: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회원가입</a:t>
            </a:r>
            <a:br>
              <a:rPr lang="en-US" altLang="ko-KR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</a:b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[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회원가입 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]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화면으로 이동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3"/>
              </a:buBlip>
              <a:defRPr/>
            </a:pPr>
            <a:r>
              <a: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아이디 찾기</a:t>
            </a:r>
            <a:br>
              <a:rPr lang="en-US" altLang="ko-KR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</a:b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[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아이디 찾기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]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화면으로 이동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3"/>
              </a:buBlip>
              <a:defRPr/>
            </a:pPr>
            <a:r>
              <a: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비밀번호 찾기</a:t>
            </a:r>
            <a:br>
              <a:rPr lang="en-US" altLang="ko-KR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</a:b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[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비밀번호 찾기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]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화면으로 이동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sp>
        <p:nvSpPr>
          <p:cNvPr id="45" name="TextBox 174">
            <a:extLst>
              <a:ext uri="{FF2B5EF4-FFF2-40B4-BE49-F238E27FC236}">
                <a16:creationId xmlns:a16="http://schemas.microsoft.com/office/drawing/2014/main" id="{712533B2-133D-43B3-BC61-CAE64D5B3BD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82972" y="2475200"/>
            <a:ext cx="2573667" cy="4078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3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로그인 성공 시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[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홈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]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화면으로 이동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3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로그인 실패 시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오류 메시지 표출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985730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C5286BA-92CE-41FB-BB05-BE0F5BBA1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사용자 인증</a:t>
            </a:r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B73B35C2-EB8A-4573-B037-7CC6DF06F86A}"/>
              </a:ext>
            </a:extLst>
          </p:cNvPr>
          <p:cNvGrpSpPr/>
          <p:nvPr/>
        </p:nvGrpSpPr>
        <p:grpSpPr>
          <a:xfrm>
            <a:off x="0" y="-3562"/>
            <a:ext cx="9226508" cy="6816938"/>
            <a:chOff x="-1952021" y="-3562"/>
            <a:chExt cx="9226508" cy="6816938"/>
          </a:xfrm>
        </p:grpSpPr>
        <p:cxnSp>
          <p:nvCxnSpPr>
            <p:cNvPr id="6" name="직선 연결선 5">
              <a:extLst>
                <a:ext uri="{FF2B5EF4-FFF2-40B4-BE49-F238E27FC236}">
                  <a16:creationId xmlns:a16="http://schemas.microsoft.com/office/drawing/2014/main" id="{B4C45666-B8F5-4C50-86A6-C4C0BE1D6FE0}"/>
                </a:ext>
              </a:extLst>
            </p:cNvPr>
            <p:cNvCxnSpPr>
              <a:cxnSpLocks/>
            </p:cNvCxnSpPr>
            <p:nvPr/>
          </p:nvCxnSpPr>
          <p:spPr>
            <a:xfrm>
              <a:off x="7257256" y="-3562"/>
              <a:ext cx="0" cy="6816938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직선 연결선 6">
              <a:extLst>
                <a:ext uri="{FF2B5EF4-FFF2-40B4-BE49-F238E27FC236}">
                  <a16:creationId xmlns:a16="http://schemas.microsoft.com/office/drawing/2014/main" id="{4860EB04-C536-404F-98C0-823E8ADC86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1952021" y="1563825"/>
              <a:ext cx="9226508" cy="0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0B76F625-D0A3-4C9E-8D76-BC231976DDDC}"/>
              </a:ext>
            </a:extLst>
          </p:cNvPr>
          <p:cNvGrpSpPr/>
          <p:nvPr/>
        </p:nvGrpSpPr>
        <p:grpSpPr>
          <a:xfrm>
            <a:off x="479376" y="908720"/>
            <a:ext cx="6759312" cy="338554"/>
            <a:chOff x="479376" y="-963488"/>
            <a:chExt cx="6759312" cy="338554"/>
          </a:xfrm>
        </p:grpSpPr>
        <p:sp>
          <p:nvSpPr>
            <p:cNvPr id="9" name="사각형: 둥근 모서리 8">
              <a:extLst>
                <a:ext uri="{FF2B5EF4-FFF2-40B4-BE49-F238E27FC236}">
                  <a16:creationId xmlns:a16="http://schemas.microsoft.com/office/drawing/2014/main" id="{F66EE92C-BEAA-4A28-9FFE-528E99678B1D}"/>
                </a:ext>
              </a:extLst>
            </p:cNvPr>
            <p:cNvSpPr/>
            <p:nvPr/>
          </p:nvSpPr>
          <p:spPr>
            <a:xfrm>
              <a:off x="479376" y="-946863"/>
              <a:ext cx="590358" cy="305304"/>
            </a:xfrm>
            <a:prstGeom prst="roundRect">
              <a:avLst>
                <a:gd name="adj" fmla="val 50000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>
                      <a:alpha val="50000"/>
                    </a:schemeClr>
                  </a:solidFill>
                  <a:latin typeface="+mn-ea"/>
                  <a:cs typeface="Arial" panose="020B0604020202020204" pitchFamily="34" charset="0"/>
                </a:rPr>
                <a:t>0</a:t>
              </a:r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C8869CF-0725-41FD-AE4C-2AF26212AA85}"/>
                </a:ext>
              </a:extLst>
            </p:cNvPr>
            <p:cNvSpPr txBox="1"/>
            <p:nvPr/>
          </p:nvSpPr>
          <p:spPr>
            <a:xfrm>
              <a:off x="1127448" y="-963488"/>
              <a:ext cx="6111240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R="0" indent="0" algn="just" fontAlgn="base" latinLnBrk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 sz="1600" kern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defRPr>
              </a:lvl1pPr>
            </a:lstStyle>
            <a:p>
              <a:r>
                <a:rPr lang="ko-KR" altLang="en-US"/>
                <a:t>아이디 찾기</a:t>
              </a:r>
              <a:endParaRPr lang="en-US" altLang="ko-KR" dirty="0"/>
            </a:p>
          </p:txBody>
        </p:sp>
      </p:grpSp>
      <p:pic>
        <p:nvPicPr>
          <p:cNvPr id="32" name="그림 31" descr="텍스트, 전자제품, 키보드이(가) 표시된 사진&#10;&#10;자동 생성된 설명">
            <a:extLst>
              <a:ext uri="{FF2B5EF4-FFF2-40B4-BE49-F238E27FC236}">
                <a16:creationId xmlns:a16="http://schemas.microsoft.com/office/drawing/2014/main" id="{6DE36115-D376-4A76-989A-3EB2FA9EDC28}"/>
              </a:ext>
            </a:extLst>
          </p:cNvPr>
          <p:cNvPicPr>
            <a:picLocks/>
          </p:cNvPicPr>
          <p:nvPr/>
        </p:nvPicPr>
        <p:blipFill rotWithShape="1">
          <a:blip r:embed="rId2"/>
          <a:srcRect t="36" b="5849"/>
          <a:stretch/>
        </p:blipFill>
        <p:spPr>
          <a:xfrm>
            <a:off x="597600" y="2064428"/>
            <a:ext cx="2052000" cy="4031999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sp>
        <p:nvSpPr>
          <p:cNvPr id="33" name="모서리가 둥근 직사각형 84">
            <a:extLst>
              <a:ext uri="{FF2B5EF4-FFF2-40B4-BE49-F238E27FC236}">
                <a16:creationId xmlns:a16="http://schemas.microsoft.com/office/drawing/2014/main" id="{C60F38D5-7773-48B8-B4CF-51A9EDF489C3}"/>
              </a:ext>
            </a:extLst>
          </p:cNvPr>
          <p:cNvSpPr/>
          <p:nvPr/>
        </p:nvSpPr>
        <p:spPr>
          <a:xfrm>
            <a:off x="517859" y="3180149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1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34" name="모서리가 둥근 직사각형 84">
            <a:extLst>
              <a:ext uri="{FF2B5EF4-FFF2-40B4-BE49-F238E27FC236}">
                <a16:creationId xmlns:a16="http://schemas.microsoft.com/office/drawing/2014/main" id="{96EFE3FB-5F79-4492-A2FB-31213A9D3A9E}"/>
              </a:ext>
            </a:extLst>
          </p:cNvPr>
          <p:cNvSpPr/>
          <p:nvPr/>
        </p:nvSpPr>
        <p:spPr>
          <a:xfrm>
            <a:off x="517858" y="3594210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2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pic>
        <p:nvPicPr>
          <p:cNvPr id="35" name="그림 34" descr="텍스트이(가) 표시된 사진&#10;&#10;자동 생성된 설명">
            <a:extLst>
              <a:ext uri="{FF2B5EF4-FFF2-40B4-BE49-F238E27FC236}">
                <a16:creationId xmlns:a16="http://schemas.microsoft.com/office/drawing/2014/main" id="{118030D8-83D1-4A69-9712-6CAE3EACFE5D}"/>
              </a:ext>
            </a:extLst>
          </p:cNvPr>
          <p:cNvPicPr>
            <a:picLocks/>
          </p:cNvPicPr>
          <p:nvPr/>
        </p:nvPicPr>
        <p:blipFill rotWithShape="1">
          <a:blip r:embed="rId3"/>
          <a:srcRect t="37" b="5849"/>
          <a:stretch/>
        </p:blipFill>
        <p:spPr>
          <a:xfrm>
            <a:off x="2880000" y="2064429"/>
            <a:ext cx="2052000" cy="4031999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sp>
        <p:nvSpPr>
          <p:cNvPr id="36" name="모서리가 둥근 직사각형 84">
            <a:extLst>
              <a:ext uri="{FF2B5EF4-FFF2-40B4-BE49-F238E27FC236}">
                <a16:creationId xmlns:a16="http://schemas.microsoft.com/office/drawing/2014/main" id="{C0F71B74-7E89-4D55-8393-F71A310E6341}"/>
              </a:ext>
            </a:extLst>
          </p:cNvPr>
          <p:cNvSpPr/>
          <p:nvPr/>
        </p:nvSpPr>
        <p:spPr>
          <a:xfrm>
            <a:off x="2949527" y="3649809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3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37" name="모서리가 둥근 직사각형 84">
            <a:extLst>
              <a:ext uri="{FF2B5EF4-FFF2-40B4-BE49-F238E27FC236}">
                <a16:creationId xmlns:a16="http://schemas.microsoft.com/office/drawing/2014/main" id="{C616AB05-EB9D-43E5-97D7-20CCDCDAC9B7}"/>
              </a:ext>
            </a:extLst>
          </p:cNvPr>
          <p:cNvSpPr/>
          <p:nvPr/>
        </p:nvSpPr>
        <p:spPr>
          <a:xfrm>
            <a:off x="2951824" y="4509120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4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grpSp>
        <p:nvGrpSpPr>
          <p:cNvPr id="38" name="그룹 37">
            <a:extLst>
              <a:ext uri="{FF2B5EF4-FFF2-40B4-BE49-F238E27FC236}">
                <a16:creationId xmlns:a16="http://schemas.microsoft.com/office/drawing/2014/main" id="{CB2AAED3-2D5C-42E1-B1B3-32893C7023FA}"/>
              </a:ext>
            </a:extLst>
          </p:cNvPr>
          <p:cNvGrpSpPr/>
          <p:nvPr/>
        </p:nvGrpSpPr>
        <p:grpSpPr>
          <a:xfrm>
            <a:off x="9322200" y="2043746"/>
            <a:ext cx="1170100" cy="230832"/>
            <a:chOff x="7316687" y="3282664"/>
            <a:chExt cx="1170100" cy="230832"/>
          </a:xfrm>
        </p:grpSpPr>
        <p:sp>
          <p:nvSpPr>
            <p:cNvPr id="39" name="TextBox 174">
              <a:extLst>
                <a:ext uri="{FF2B5EF4-FFF2-40B4-BE49-F238E27FC236}">
                  <a16:creationId xmlns:a16="http://schemas.microsoft.com/office/drawing/2014/main" id="{5B6D7B9C-FCDB-4C14-A781-3C5C6C106A6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99578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인증코드 발송 버튼</a:t>
              </a:r>
            </a:p>
          </p:txBody>
        </p:sp>
        <p:sp>
          <p:nvSpPr>
            <p:cNvPr id="40" name="모서리가 둥근 직사각형 84">
              <a:extLst>
                <a:ext uri="{FF2B5EF4-FFF2-40B4-BE49-F238E27FC236}">
                  <a16:creationId xmlns:a16="http://schemas.microsoft.com/office/drawing/2014/main" id="{1BF0A99B-EA2D-4AF8-87F7-F95287E3A0AB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2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41" name="그룹 40">
            <a:extLst>
              <a:ext uri="{FF2B5EF4-FFF2-40B4-BE49-F238E27FC236}">
                <a16:creationId xmlns:a16="http://schemas.microsoft.com/office/drawing/2014/main" id="{ADBB0361-281D-497C-A9EE-7DCA7367C7AE}"/>
              </a:ext>
            </a:extLst>
          </p:cNvPr>
          <p:cNvGrpSpPr/>
          <p:nvPr/>
        </p:nvGrpSpPr>
        <p:grpSpPr>
          <a:xfrm>
            <a:off x="9282973" y="1268760"/>
            <a:ext cx="2573667" cy="628091"/>
            <a:chOff x="7031364" y="0"/>
            <a:chExt cx="2573667" cy="628091"/>
          </a:xfrm>
        </p:grpSpPr>
        <p:grpSp>
          <p:nvGrpSpPr>
            <p:cNvPr id="42" name="그룹 41">
              <a:extLst>
                <a:ext uri="{FF2B5EF4-FFF2-40B4-BE49-F238E27FC236}">
                  <a16:creationId xmlns:a16="http://schemas.microsoft.com/office/drawing/2014/main" id="{8FD52F1B-B24B-4B38-8622-E74EB38DBB77}"/>
                </a:ext>
              </a:extLst>
            </p:cNvPr>
            <p:cNvGrpSpPr/>
            <p:nvPr/>
          </p:nvGrpSpPr>
          <p:grpSpPr>
            <a:xfrm>
              <a:off x="7070591" y="0"/>
              <a:ext cx="1278194" cy="230832"/>
              <a:chOff x="7316687" y="3282664"/>
              <a:chExt cx="1278194" cy="230832"/>
            </a:xfrm>
          </p:grpSpPr>
          <p:sp>
            <p:nvSpPr>
              <p:cNvPr id="44" name="TextBox 174">
                <a:extLst>
                  <a:ext uri="{FF2B5EF4-FFF2-40B4-BE49-F238E27FC236}">
                    <a16:creationId xmlns:a16="http://schemas.microsoft.com/office/drawing/2014/main" id="{2D9293AC-295A-4A3E-833A-68062C536FEB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482076" y="3282664"/>
                <a:ext cx="1112805" cy="2308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>
                  <a:defRPr/>
                </a:pPr>
                <a:r>
                  <a:rPr lang="ko-KR" altLang="en-US" sz="900" b="1" spc="-150" dirty="0">
                    <a:ln>
                      <a:solidFill>
                        <a:srgbClr val="5B9BD5">
                          <a:shade val="50000"/>
                          <a:alpha val="0"/>
                        </a:srgbClr>
                      </a:solidFill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+mn-ea"/>
                    <a:ea typeface="+mn-ea"/>
                  </a:rPr>
                  <a:t>아이디 찾기 정보 입력</a:t>
                </a:r>
              </a:p>
            </p:txBody>
          </p:sp>
          <p:sp>
            <p:nvSpPr>
              <p:cNvPr id="45" name="모서리가 둥근 직사각형 84">
                <a:extLst>
                  <a:ext uri="{FF2B5EF4-FFF2-40B4-BE49-F238E27FC236}">
                    <a16:creationId xmlns:a16="http://schemas.microsoft.com/office/drawing/2014/main" id="{9112B8B9-DE08-4E6E-B291-C30AF0BEA518}"/>
                  </a:ext>
                </a:extLst>
              </p:cNvPr>
              <p:cNvSpPr/>
              <p:nvPr/>
            </p:nvSpPr>
            <p:spPr>
              <a:xfrm>
                <a:off x="7316687" y="3317910"/>
                <a:ext cx="185041" cy="185041"/>
              </a:xfrm>
              <a:prstGeom prst="roundRect">
                <a:avLst/>
              </a:prstGeom>
              <a:solidFill>
                <a:srgbClr val="627EA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r>
                  <a:rPr lang="en-US" altLang="ko-KR" sz="900" spc="-150" dirty="0">
                    <a:ln>
                      <a:solidFill>
                        <a:srgbClr val="5B9BD5">
                          <a:shade val="50000"/>
                          <a:alpha val="0"/>
                        </a:srgbClr>
                      </a:solidFill>
                    </a:ln>
                    <a:solidFill>
                      <a:prstClr val="white"/>
                    </a:solidFill>
                    <a:latin typeface="+mn-ea"/>
                    <a:cs typeface="Arial" panose="020B0604020202020204" pitchFamily="34" charset="0"/>
                  </a:rPr>
                  <a:t>1</a:t>
                </a:r>
                <a:endParaRPr lang="ko-KR" altLang="en-US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3" name="TextBox 174">
              <a:extLst>
                <a:ext uri="{FF2B5EF4-FFF2-40B4-BE49-F238E27FC236}">
                  <a16:creationId xmlns:a16="http://schemas.microsoft.com/office/drawing/2014/main" id="{522A6BC7-D6E8-4B77-A158-220C0EF7035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031364" y="220287"/>
              <a:ext cx="2573667" cy="4078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>
                <a:spcBef>
                  <a:spcPts val="300"/>
                </a:spcBef>
                <a:buClr>
                  <a:srgbClr val="D0A660"/>
                </a:buClr>
                <a:buSzPct val="100000"/>
                <a:defRPr/>
              </a:pPr>
              <a:r>
                <a:rPr lang="en-US" altLang="ko-KR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[</a:t>
              </a: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필수 입력정보</a:t>
              </a:r>
              <a:r>
                <a:rPr lang="en-US" altLang="ko-KR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]</a:t>
              </a:r>
            </a:p>
            <a:p>
              <a:pPr marL="176213" indent="-176213">
                <a:spcBef>
                  <a:spcPts val="300"/>
                </a:spcBef>
                <a:buClr>
                  <a:srgbClr val="D0A660"/>
                </a:buClr>
                <a:buSzPct val="100000"/>
                <a:buBlip>
                  <a:blip r:embed="rId4"/>
                </a:buBlip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이메일</a:t>
              </a:r>
              <a:endParaRPr lang="en-US" altLang="ko-KR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</p:grpSp>
      <p:grpSp>
        <p:nvGrpSpPr>
          <p:cNvPr id="46" name="그룹 45">
            <a:extLst>
              <a:ext uri="{FF2B5EF4-FFF2-40B4-BE49-F238E27FC236}">
                <a16:creationId xmlns:a16="http://schemas.microsoft.com/office/drawing/2014/main" id="{EF68B381-C460-47BE-BD62-8924885A9EC5}"/>
              </a:ext>
            </a:extLst>
          </p:cNvPr>
          <p:cNvGrpSpPr/>
          <p:nvPr/>
        </p:nvGrpSpPr>
        <p:grpSpPr>
          <a:xfrm>
            <a:off x="9323054" y="2909555"/>
            <a:ext cx="977740" cy="230832"/>
            <a:chOff x="7316687" y="3282664"/>
            <a:chExt cx="977740" cy="230832"/>
          </a:xfrm>
        </p:grpSpPr>
        <p:sp>
          <p:nvSpPr>
            <p:cNvPr id="47" name="TextBox 174">
              <a:extLst>
                <a:ext uri="{FF2B5EF4-FFF2-40B4-BE49-F238E27FC236}">
                  <a16:creationId xmlns:a16="http://schemas.microsoft.com/office/drawing/2014/main" id="{19336FC5-BEA0-467D-9325-883AE412DDF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80342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인증 완료 버튼</a:t>
              </a:r>
            </a:p>
          </p:txBody>
        </p:sp>
        <p:sp>
          <p:nvSpPr>
            <p:cNvPr id="48" name="모서리가 둥근 직사각형 84">
              <a:extLst>
                <a:ext uri="{FF2B5EF4-FFF2-40B4-BE49-F238E27FC236}">
                  <a16:creationId xmlns:a16="http://schemas.microsoft.com/office/drawing/2014/main" id="{D5E9CED0-6A70-462D-9C6E-A1625516C327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3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49" name="TextBox 174">
            <a:extLst>
              <a:ext uri="{FF2B5EF4-FFF2-40B4-BE49-F238E27FC236}">
                <a16:creationId xmlns:a16="http://schemas.microsoft.com/office/drawing/2014/main" id="{4C6EB3B6-A236-4B9A-8D2D-E3050013545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82973" y="3178224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아이디 메일 확인 후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[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로그인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]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화면으로 이동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sp>
        <p:nvSpPr>
          <p:cNvPr id="50" name="TextBox 174">
            <a:extLst>
              <a:ext uri="{FF2B5EF4-FFF2-40B4-BE49-F238E27FC236}">
                <a16:creationId xmlns:a16="http://schemas.microsoft.com/office/drawing/2014/main" id="{FB24F439-4BFF-4B75-91BA-2F64BB25E7C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82972" y="2301116"/>
            <a:ext cx="2573667" cy="4078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입력한 이메일로 인증 코드 발송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인증이 완료되면 이메일로 아이디 발송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grpSp>
        <p:nvGrpSpPr>
          <p:cNvPr id="51" name="그룹 50">
            <a:extLst>
              <a:ext uri="{FF2B5EF4-FFF2-40B4-BE49-F238E27FC236}">
                <a16:creationId xmlns:a16="http://schemas.microsoft.com/office/drawing/2014/main" id="{9D540DD2-69C4-4113-80FD-AA4FB626776B}"/>
              </a:ext>
            </a:extLst>
          </p:cNvPr>
          <p:cNvGrpSpPr/>
          <p:nvPr/>
        </p:nvGrpSpPr>
        <p:grpSpPr>
          <a:xfrm>
            <a:off x="9323054" y="3634190"/>
            <a:ext cx="1170100" cy="230832"/>
            <a:chOff x="7316687" y="3282664"/>
            <a:chExt cx="1170100" cy="230832"/>
          </a:xfrm>
        </p:grpSpPr>
        <p:sp>
          <p:nvSpPr>
            <p:cNvPr id="52" name="TextBox 174">
              <a:extLst>
                <a:ext uri="{FF2B5EF4-FFF2-40B4-BE49-F238E27FC236}">
                  <a16:creationId xmlns:a16="http://schemas.microsoft.com/office/drawing/2014/main" id="{70742455-2C14-4BBB-A25B-21AC18294BD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99578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다시 입력하기 버튼</a:t>
              </a:r>
            </a:p>
          </p:txBody>
        </p:sp>
        <p:sp>
          <p:nvSpPr>
            <p:cNvPr id="53" name="모서리가 둥근 직사각형 84">
              <a:extLst>
                <a:ext uri="{FF2B5EF4-FFF2-40B4-BE49-F238E27FC236}">
                  <a16:creationId xmlns:a16="http://schemas.microsoft.com/office/drawing/2014/main" id="{B0176ADB-AD77-4DFA-8C34-8B9E7447CCFB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4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54" name="TextBox 174">
            <a:extLst>
              <a:ext uri="{FF2B5EF4-FFF2-40B4-BE49-F238E27FC236}">
                <a16:creationId xmlns:a16="http://schemas.microsoft.com/office/drawing/2014/main" id="{0C87FF57-695E-4F70-8B4D-1D22C4B25C1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82973" y="3902859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이메일 다시 입력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180639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C5286BA-92CE-41FB-BB05-BE0F5BBA1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사용자 인증</a:t>
            </a:r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B73B35C2-EB8A-4573-B037-7CC6DF06F86A}"/>
              </a:ext>
            </a:extLst>
          </p:cNvPr>
          <p:cNvGrpSpPr/>
          <p:nvPr/>
        </p:nvGrpSpPr>
        <p:grpSpPr>
          <a:xfrm>
            <a:off x="0" y="-3562"/>
            <a:ext cx="9226508" cy="6816938"/>
            <a:chOff x="-1952021" y="-3562"/>
            <a:chExt cx="9226508" cy="6816938"/>
          </a:xfrm>
        </p:grpSpPr>
        <p:cxnSp>
          <p:nvCxnSpPr>
            <p:cNvPr id="6" name="직선 연결선 5">
              <a:extLst>
                <a:ext uri="{FF2B5EF4-FFF2-40B4-BE49-F238E27FC236}">
                  <a16:creationId xmlns:a16="http://schemas.microsoft.com/office/drawing/2014/main" id="{B4C45666-B8F5-4C50-86A6-C4C0BE1D6FE0}"/>
                </a:ext>
              </a:extLst>
            </p:cNvPr>
            <p:cNvCxnSpPr>
              <a:cxnSpLocks/>
            </p:cNvCxnSpPr>
            <p:nvPr/>
          </p:nvCxnSpPr>
          <p:spPr>
            <a:xfrm>
              <a:off x="7257256" y="-3562"/>
              <a:ext cx="0" cy="6816938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직선 연결선 6">
              <a:extLst>
                <a:ext uri="{FF2B5EF4-FFF2-40B4-BE49-F238E27FC236}">
                  <a16:creationId xmlns:a16="http://schemas.microsoft.com/office/drawing/2014/main" id="{4860EB04-C536-404F-98C0-823E8ADC86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1952021" y="1563825"/>
              <a:ext cx="9226508" cy="0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0B76F625-D0A3-4C9E-8D76-BC231976DDDC}"/>
              </a:ext>
            </a:extLst>
          </p:cNvPr>
          <p:cNvGrpSpPr/>
          <p:nvPr/>
        </p:nvGrpSpPr>
        <p:grpSpPr>
          <a:xfrm>
            <a:off x="479376" y="908720"/>
            <a:ext cx="6759312" cy="338554"/>
            <a:chOff x="479376" y="-963488"/>
            <a:chExt cx="6759312" cy="338554"/>
          </a:xfrm>
        </p:grpSpPr>
        <p:sp>
          <p:nvSpPr>
            <p:cNvPr id="9" name="사각형: 둥근 모서리 8">
              <a:extLst>
                <a:ext uri="{FF2B5EF4-FFF2-40B4-BE49-F238E27FC236}">
                  <a16:creationId xmlns:a16="http://schemas.microsoft.com/office/drawing/2014/main" id="{F66EE92C-BEAA-4A28-9FFE-528E99678B1D}"/>
                </a:ext>
              </a:extLst>
            </p:cNvPr>
            <p:cNvSpPr/>
            <p:nvPr/>
          </p:nvSpPr>
          <p:spPr>
            <a:xfrm>
              <a:off x="479376" y="-946863"/>
              <a:ext cx="590358" cy="305304"/>
            </a:xfrm>
            <a:prstGeom prst="roundRect">
              <a:avLst>
                <a:gd name="adj" fmla="val 50000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>
                      <a:alpha val="50000"/>
                    </a:schemeClr>
                  </a:solidFill>
                  <a:latin typeface="+mn-ea"/>
                  <a:cs typeface="Arial" panose="020B0604020202020204" pitchFamily="34" charset="0"/>
                </a:rPr>
                <a:t>0</a:t>
              </a:r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  <a:cs typeface="Arial" panose="020B0604020202020204" pitchFamily="34" charset="0"/>
                </a:rPr>
                <a:t>4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C8869CF-0725-41FD-AE4C-2AF26212AA85}"/>
                </a:ext>
              </a:extLst>
            </p:cNvPr>
            <p:cNvSpPr txBox="1"/>
            <p:nvPr/>
          </p:nvSpPr>
          <p:spPr>
            <a:xfrm>
              <a:off x="1127448" y="-963488"/>
              <a:ext cx="6111240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R="0" indent="0" algn="just" fontAlgn="base" latinLnBrk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 sz="1600" kern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defRPr>
              </a:lvl1pPr>
            </a:lstStyle>
            <a:p>
              <a:r>
                <a:rPr lang="ko-KR" altLang="en-US"/>
                <a:t>비밀번호 찾기</a:t>
              </a:r>
              <a:endParaRPr lang="en-US" altLang="ko-KR" dirty="0"/>
            </a:p>
          </p:txBody>
        </p:sp>
      </p:grpSp>
      <p:pic>
        <p:nvPicPr>
          <p:cNvPr id="65" name="그림 64">
            <a:extLst>
              <a:ext uri="{FF2B5EF4-FFF2-40B4-BE49-F238E27FC236}">
                <a16:creationId xmlns:a16="http://schemas.microsoft.com/office/drawing/2014/main" id="{6D035B00-417B-4DAB-AEDA-1C523330D706}"/>
              </a:ext>
            </a:extLst>
          </p:cNvPr>
          <p:cNvPicPr>
            <a:picLocks/>
          </p:cNvPicPr>
          <p:nvPr/>
        </p:nvPicPr>
        <p:blipFill rotWithShape="1">
          <a:blip r:embed="rId2"/>
          <a:srcRect t="-42" b="5848"/>
          <a:stretch/>
        </p:blipFill>
        <p:spPr>
          <a:xfrm>
            <a:off x="597600" y="2062800"/>
            <a:ext cx="2052000" cy="4031999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66" name="그림 65" descr="텍스트이(가) 표시된 사진&#10;&#10;자동 생성된 설명">
            <a:extLst>
              <a:ext uri="{FF2B5EF4-FFF2-40B4-BE49-F238E27FC236}">
                <a16:creationId xmlns:a16="http://schemas.microsoft.com/office/drawing/2014/main" id="{FCDF6835-4816-4A7D-A413-7C8380A83FCD}"/>
              </a:ext>
            </a:extLst>
          </p:cNvPr>
          <p:cNvPicPr>
            <a:picLocks/>
          </p:cNvPicPr>
          <p:nvPr/>
        </p:nvPicPr>
        <p:blipFill rotWithShape="1">
          <a:blip r:embed="rId3"/>
          <a:srcRect t="-42" b="5848"/>
          <a:stretch/>
        </p:blipFill>
        <p:spPr>
          <a:xfrm>
            <a:off x="2880000" y="2062801"/>
            <a:ext cx="2052000" cy="4031999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sp>
        <p:nvSpPr>
          <p:cNvPr id="67" name="모서리가 둥근 직사각형 84">
            <a:extLst>
              <a:ext uri="{FF2B5EF4-FFF2-40B4-BE49-F238E27FC236}">
                <a16:creationId xmlns:a16="http://schemas.microsoft.com/office/drawing/2014/main" id="{8DBE4326-A742-47CA-9A60-8FE6C0E2FCF6}"/>
              </a:ext>
            </a:extLst>
          </p:cNvPr>
          <p:cNvSpPr/>
          <p:nvPr/>
        </p:nvSpPr>
        <p:spPr>
          <a:xfrm>
            <a:off x="513950" y="3205039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1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68" name="모서리가 둥근 직사각형 84">
            <a:extLst>
              <a:ext uri="{FF2B5EF4-FFF2-40B4-BE49-F238E27FC236}">
                <a16:creationId xmlns:a16="http://schemas.microsoft.com/office/drawing/2014/main" id="{DE103368-B095-44F7-95DF-D24326F960BD}"/>
              </a:ext>
            </a:extLst>
          </p:cNvPr>
          <p:cNvSpPr/>
          <p:nvPr/>
        </p:nvSpPr>
        <p:spPr>
          <a:xfrm>
            <a:off x="513949" y="3635682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2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69" name="모서리가 둥근 직사각형 84">
            <a:extLst>
              <a:ext uri="{FF2B5EF4-FFF2-40B4-BE49-F238E27FC236}">
                <a16:creationId xmlns:a16="http://schemas.microsoft.com/office/drawing/2014/main" id="{6C4CFCF0-4C22-4012-BC0B-64EEA76A11AD}"/>
              </a:ext>
            </a:extLst>
          </p:cNvPr>
          <p:cNvSpPr/>
          <p:nvPr/>
        </p:nvSpPr>
        <p:spPr>
          <a:xfrm>
            <a:off x="2925395" y="3648923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3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70" name="모서리가 둥근 직사각형 84">
            <a:extLst>
              <a:ext uri="{FF2B5EF4-FFF2-40B4-BE49-F238E27FC236}">
                <a16:creationId xmlns:a16="http://schemas.microsoft.com/office/drawing/2014/main" id="{C819E1C6-9F28-4BFC-8730-3EFCA13C37F7}"/>
              </a:ext>
            </a:extLst>
          </p:cNvPr>
          <p:cNvSpPr/>
          <p:nvPr/>
        </p:nvSpPr>
        <p:spPr>
          <a:xfrm>
            <a:off x="2925394" y="4509120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4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grpSp>
        <p:nvGrpSpPr>
          <p:cNvPr id="71" name="그룹 70">
            <a:extLst>
              <a:ext uri="{FF2B5EF4-FFF2-40B4-BE49-F238E27FC236}">
                <a16:creationId xmlns:a16="http://schemas.microsoft.com/office/drawing/2014/main" id="{FB78BF03-348F-4306-902F-17DC19053A5F}"/>
              </a:ext>
            </a:extLst>
          </p:cNvPr>
          <p:cNvGrpSpPr/>
          <p:nvPr/>
        </p:nvGrpSpPr>
        <p:grpSpPr>
          <a:xfrm>
            <a:off x="9332155" y="2060848"/>
            <a:ext cx="1170100" cy="230832"/>
            <a:chOff x="7316687" y="3282664"/>
            <a:chExt cx="1170100" cy="230832"/>
          </a:xfrm>
        </p:grpSpPr>
        <p:sp>
          <p:nvSpPr>
            <p:cNvPr id="72" name="TextBox 174">
              <a:extLst>
                <a:ext uri="{FF2B5EF4-FFF2-40B4-BE49-F238E27FC236}">
                  <a16:creationId xmlns:a16="http://schemas.microsoft.com/office/drawing/2014/main" id="{8C1C2835-39EC-4FF1-8B7C-440AE71DC51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99578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인증코드 발송 버튼</a:t>
              </a:r>
            </a:p>
          </p:txBody>
        </p:sp>
        <p:sp>
          <p:nvSpPr>
            <p:cNvPr id="73" name="모서리가 둥근 직사각형 84">
              <a:extLst>
                <a:ext uri="{FF2B5EF4-FFF2-40B4-BE49-F238E27FC236}">
                  <a16:creationId xmlns:a16="http://schemas.microsoft.com/office/drawing/2014/main" id="{2FA40A16-3AE5-4F78-A322-5DFD5ED15A6B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2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74" name="그룹 73">
            <a:extLst>
              <a:ext uri="{FF2B5EF4-FFF2-40B4-BE49-F238E27FC236}">
                <a16:creationId xmlns:a16="http://schemas.microsoft.com/office/drawing/2014/main" id="{4494FE2E-4ACE-402C-B4DE-120489283459}"/>
              </a:ext>
            </a:extLst>
          </p:cNvPr>
          <p:cNvGrpSpPr/>
          <p:nvPr/>
        </p:nvGrpSpPr>
        <p:grpSpPr>
          <a:xfrm>
            <a:off x="9292928" y="1268760"/>
            <a:ext cx="2573667" cy="628091"/>
            <a:chOff x="7031364" y="0"/>
            <a:chExt cx="2573667" cy="628091"/>
          </a:xfrm>
        </p:grpSpPr>
        <p:grpSp>
          <p:nvGrpSpPr>
            <p:cNvPr id="75" name="그룹 74">
              <a:extLst>
                <a:ext uri="{FF2B5EF4-FFF2-40B4-BE49-F238E27FC236}">
                  <a16:creationId xmlns:a16="http://schemas.microsoft.com/office/drawing/2014/main" id="{5D2050A5-C3F1-49E0-AEF8-30931A8E02D2}"/>
                </a:ext>
              </a:extLst>
            </p:cNvPr>
            <p:cNvGrpSpPr/>
            <p:nvPr/>
          </p:nvGrpSpPr>
          <p:grpSpPr>
            <a:xfrm>
              <a:off x="7070591" y="0"/>
              <a:ext cx="1374374" cy="230832"/>
              <a:chOff x="7316687" y="3282664"/>
              <a:chExt cx="1374374" cy="230832"/>
            </a:xfrm>
          </p:grpSpPr>
          <p:sp>
            <p:nvSpPr>
              <p:cNvPr id="77" name="TextBox 174">
                <a:extLst>
                  <a:ext uri="{FF2B5EF4-FFF2-40B4-BE49-F238E27FC236}">
                    <a16:creationId xmlns:a16="http://schemas.microsoft.com/office/drawing/2014/main" id="{FA3E5FDF-CA61-4101-A7C8-859E83881CF0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482076" y="3282664"/>
                <a:ext cx="1208985" cy="2308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>
                  <a:defRPr/>
                </a:pPr>
                <a:r>
                  <a:rPr lang="ko-KR" altLang="en-US" sz="900" b="1" spc="-150" dirty="0">
                    <a:ln>
                      <a:solidFill>
                        <a:srgbClr val="5B9BD5">
                          <a:shade val="50000"/>
                          <a:alpha val="0"/>
                        </a:srgbClr>
                      </a:solidFill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+mn-ea"/>
                    <a:ea typeface="+mn-ea"/>
                  </a:rPr>
                  <a:t>비밀번호 찾기 정보 입력</a:t>
                </a:r>
              </a:p>
            </p:txBody>
          </p:sp>
          <p:sp>
            <p:nvSpPr>
              <p:cNvPr id="78" name="모서리가 둥근 직사각형 84">
                <a:extLst>
                  <a:ext uri="{FF2B5EF4-FFF2-40B4-BE49-F238E27FC236}">
                    <a16:creationId xmlns:a16="http://schemas.microsoft.com/office/drawing/2014/main" id="{6A337460-90B7-4E93-9CC6-AECD91D0F832}"/>
                  </a:ext>
                </a:extLst>
              </p:cNvPr>
              <p:cNvSpPr/>
              <p:nvPr/>
            </p:nvSpPr>
            <p:spPr>
              <a:xfrm>
                <a:off x="7316687" y="3317910"/>
                <a:ext cx="185041" cy="185041"/>
              </a:xfrm>
              <a:prstGeom prst="roundRect">
                <a:avLst/>
              </a:prstGeom>
              <a:solidFill>
                <a:srgbClr val="627EA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r>
                  <a:rPr lang="en-US" altLang="ko-KR" sz="900" spc="-150" dirty="0">
                    <a:ln>
                      <a:solidFill>
                        <a:srgbClr val="5B9BD5">
                          <a:shade val="50000"/>
                          <a:alpha val="0"/>
                        </a:srgbClr>
                      </a:solidFill>
                    </a:ln>
                    <a:solidFill>
                      <a:prstClr val="white"/>
                    </a:solidFill>
                    <a:latin typeface="+mn-ea"/>
                    <a:cs typeface="Arial" panose="020B0604020202020204" pitchFamily="34" charset="0"/>
                  </a:rPr>
                  <a:t>1</a:t>
                </a:r>
                <a:endParaRPr lang="ko-KR" altLang="en-US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76" name="TextBox 174">
              <a:extLst>
                <a:ext uri="{FF2B5EF4-FFF2-40B4-BE49-F238E27FC236}">
                  <a16:creationId xmlns:a16="http://schemas.microsoft.com/office/drawing/2014/main" id="{BB2CBB6F-E696-4D26-B4D4-356AC64AA30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031364" y="220287"/>
              <a:ext cx="2573667" cy="4078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>
                <a:spcBef>
                  <a:spcPts val="300"/>
                </a:spcBef>
                <a:buClr>
                  <a:srgbClr val="D0A660"/>
                </a:buClr>
                <a:buSzPct val="100000"/>
                <a:defRPr/>
              </a:pPr>
              <a:r>
                <a:rPr lang="en-US" altLang="ko-KR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[</a:t>
              </a: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필수 입력정보</a:t>
              </a:r>
              <a:r>
                <a:rPr lang="en-US" altLang="ko-KR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]</a:t>
              </a:r>
            </a:p>
            <a:p>
              <a:pPr marL="176213" indent="-176213">
                <a:spcBef>
                  <a:spcPts val="300"/>
                </a:spcBef>
                <a:buClr>
                  <a:srgbClr val="D0A660"/>
                </a:buClr>
                <a:buSzPct val="100000"/>
                <a:buBlip>
                  <a:blip r:embed="rId4"/>
                </a:buBlip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이메일</a:t>
              </a:r>
              <a:endParaRPr lang="en-US" altLang="ko-KR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</p:grpSp>
      <p:grpSp>
        <p:nvGrpSpPr>
          <p:cNvPr id="79" name="그룹 78">
            <a:extLst>
              <a:ext uri="{FF2B5EF4-FFF2-40B4-BE49-F238E27FC236}">
                <a16:creationId xmlns:a16="http://schemas.microsoft.com/office/drawing/2014/main" id="{90DED939-047A-4D8E-87B0-7C45382FCA6F}"/>
              </a:ext>
            </a:extLst>
          </p:cNvPr>
          <p:cNvGrpSpPr/>
          <p:nvPr/>
        </p:nvGrpSpPr>
        <p:grpSpPr>
          <a:xfrm>
            <a:off x="9333009" y="2975425"/>
            <a:ext cx="977740" cy="230832"/>
            <a:chOff x="7316687" y="3282664"/>
            <a:chExt cx="977740" cy="230832"/>
          </a:xfrm>
        </p:grpSpPr>
        <p:sp>
          <p:nvSpPr>
            <p:cNvPr id="80" name="TextBox 174">
              <a:extLst>
                <a:ext uri="{FF2B5EF4-FFF2-40B4-BE49-F238E27FC236}">
                  <a16:creationId xmlns:a16="http://schemas.microsoft.com/office/drawing/2014/main" id="{55344619-4D37-480F-BA5A-77F8DE53E97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80342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인증 완료 버튼</a:t>
              </a:r>
            </a:p>
          </p:txBody>
        </p:sp>
        <p:sp>
          <p:nvSpPr>
            <p:cNvPr id="81" name="모서리가 둥근 직사각형 84">
              <a:extLst>
                <a:ext uri="{FF2B5EF4-FFF2-40B4-BE49-F238E27FC236}">
                  <a16:creationId xmlns:a16="http://schemas.microsoft.com/office/drawing/2014/main" id="{8472DF9B-8EE4-4AB8-A2FB-4F5DF561E4A9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3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82" name="TextBox 174">
            <a:extLst>
              <a:ext uri="{FF2B5EF4-FFF2-40B4-BE49-F238E27FC236}">
                <a16:creationId xmlns:a16="http://schemas.microsoft.com/office/drawing/2014/main" id="{5AC12FEF-9E29-4474-AEFB-8076E5468C6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92928" y="3244094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비밀번호 초기화 메일 확인 후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[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로그인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]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화면으로 이동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sp>
        <p:nvSpPr>
          <p:cNvPr id="83" name="TextBox 174">
            <a:extLst>
              <a:ext uri="{FF2B5EF4-FFF2-40B4-BE49-F238E27FC236}">
                <a16:creationId xmlns:a16="http://schemas.microsoft.com/office/drawing/2014/main" id="{6D528B89-8EDE-4890-BC94-742F7F1CC20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92927" y="2318218"/>
            <a:ext cx="2573667" cy="4078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입력한 이메일로 인증 코드 발송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인증이 완료되면 이메일로 초기화된 비밀번호 발송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grpSp>
        <p:nvGrpSpPr>
          <p:cNvPr id="84" name="그룹 83">
            <a:extLst>
              <a:ext uri="{FF2B5EF4-FFF2-40B4-BE49-F238E27FC236}">
                <a16:creationId xmlns:a16="http://schemas.microsoft.com/office/drawing/2014/main" id="{85F1C163-FBD4-4935-807C-76886D9F1B3C}"/>
              </a:ext>
            </a:extLst>
          </p:cNvPr>
          <p:cNvGrpSpPr/>
          <p:nvPr/>
        </p:nvGrpSpPr>
        <p:grpSpPr>
          <a:xfrm>
            <a:off x="9333009" y="3706198"/>
            <a:ext cx="1170100" cy="230832"/>
            <a:chOff x="7316687" y="3282664"/>
            <a:chExt cx="1170100" cy="230832"/>
          </a:xfrm>
        </p:grpSpPr>
        <p:sp>
          <p:nvSpPr>
            <p:cNvPr id="85" name="TextBox 174">
              <a:extLst>
                <a:ext uri="{FF2B5EF4-FFF2-40B4-BE49-F238E27FC236}">
                  <a16:creationId xmlns:a16="http://schemas.microsoft.com/office/drawing/2014/main" id="{1D20F9D2-7F5F-432F-A3DC-5B0F99D8319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99578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다시 입력하기 버튼</a:t>
              </a:r>
            </a:p>
          </p:txBody>
        </p:sp>
        <p:sp>
          <p:nvSpPr>
            <p:cNvPr id="86" name="모서리가 둥근 직사각형 84">
              <a:extLst>
                <a:ext uri="{FF2B5EF4-FFF2-40B4-BE49-F238E27FC236}">
                  <a16:creationId xmlns:a16="http://schemas.microsoft.com/office/drawing/2014/main" id="{EE20C0EB-A9BA-495D-9613-1AB27261049B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4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87" name="TextBox 174">
            <a:extLst>
              <a:ext uri="{FF2B5EF4-FFF2-40B4-BE49-F238E27FC236}">
                <a16:creationId xmlns:a16="http://schemas.microsoft.com/office/drawing/2014/main" id="{DE2989DE-75DF-4984-9227-881F55123F6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92928" y="3974867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이메일 다시 입력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363025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C5286BA-92CE-41FB-BB05-BE0F5BBA1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전체 서비스</a:t>
            </a:r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B73B35C2-EB8A-4573-B037-7CC6DF06F86A}"/>
              </a:ext>
            </a:extLst>
          </p:cNvPr>
          <p:cNvGrpSpPr/>
          <p:nvPr/>
        </p:nvGrpSpPr>
        <p:grpSpPr>
          <a:xfrm>
            <a:off x="0" y="-3562"/>
            <a:ext cx="9226508" cy="6816938"/>
            <a:chOff x="-1952021" y="-3562"/>
            <a:chExt cx="9226508" cy="6816938"/>
          </a:xfrm>
        </p:grpSpPr>
        <p:cxnSp>
          <p:nvCxnSpPr>
            <p:cNvPr id="6" name="직선 연결선 5">
              <a:extLst>
                <a:ext uri="{FF2B5EF4-FFF2-40B4-BE49-F238E27FC236}">
                  <a16:creationId xmlns:a16="http://schemas.microsoft.com/office/drawing/2014/main" id="{B4C45666-B8F5-4C50-86A6-C4C0BE1D6FE0}"/>
                </a:ext>
              </a:extLst>
            </p:cNvPr>
            <p:cNvCxnSpPr>
              <a:cxnSpLocks/>
            </p:cNvCxnSpPr>
            <p:nvPr/>
          </p:nvCxnSpPr>
          <p:spPr>
            <a:xfrm>
              <a:off x="7257256" y="-3562"/>
              <a:ext cx="0" cy="6816938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직선 연결선 6">
              <a:extLst>
                <a:ext uri="{FF2B5EF4-FFF2-40B4-BE49-F238E27FC236}">
                  <a16:creationId xmlns:a16="http://schemas.microsoft.com/office/drawing/2014/main" id="{4860EB04-C536-404F-98C0-823E8ADC86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1952021" y="1563825"/>
              <a:ext cx="9226508" cy="0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0B76F625-D0A3-4C9E-8D76-BC231976DDDC}"/>
              </a:ext>
            </a:extLst>
          </p:cNvPr>
          <p:cNvGrpSpPr/>
          <p:nvPr/>
        </p:nvGrpSpPr>
        <p:grpSpPr>
          <a:xfrm>
            <a:off x="479376" y="908720"/>
            <a:ext cx="6759312" cy="338554"/>
            <a:chOff x="479376" y="-963488"/>
            <a:chExt cx="6759312" cy="338554"/>
          </a:xfrm>
        </p:grpSpPr>
        <p:sp>
          <p:nvSpPr>
            <p:cNvPr id="9" name="사각형: 둥근 모서리 8">
              <a:extLst>
                <a:ext uri="{FF2B5EF4-FFF2-40B4-BE49-F238E27FC236}">
                  <a16:creationId xmlns:a16="http://schemas.microsoft.com/office/drawing/2014/main" id="{F66EE92C-BEAA-4A28-9FFE-528E99678B1D}"/>
                </a:ext>
              </a:extLst>
            </p:cNvPr>
            <p:cNvSpPr/>
            <p:nvPr/>
          </p:nvSpPr>
          <p:spPr>
            <a:xfrm>
              <a:off x="479376" y="-946863"/>
              <a:ext cx="590358" cy="305304"/>
            </a:xfrm>
            <a:prstGeom prst="roundRect">
              <a:avLst>
                <a:gd name="adj" fmla="val 50000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>
                      <a:alpha val="50000"/>
                    </a:schemeClr>
                  </a:solidFill>
                  <a:latin typeface="+mn-ea"/>
                  <a:cs typeface="Arial" panose="020B0604020202020204" pitchFamily="34" charset="0"/>
                </a:rPr>
                <a:t>0</a:t>
              </a:r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C8869CF-0725-41FD-AE4C-2AF26212AA85}"/>
                </a:ext>
              </a:extLst>
            </p:cNvPr>
            <p:cNvSpPr txBox="1"/>
            <p:nvPr/>
          </p:nvSpPr>
          <p:spPr>
            <a:xfrm>
              <a:off x="1127448" y="-963488"/>
              <a:ext cx="6111240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R="0" indent="0" algn="just" fontAlgn="base" latinLnBrk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 sz="1600" kern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defRPr>
              </a:lvl1pPr>
            </a:lstStyle>
            <a:p>
              <a:r>
                <a:rPr lang="ko-KR" altLang="en-US" dirty="0"/>
                <a:t>전체 서비스</a:t>
              </a:r>
              <a:endParaRPr lang="en-US" altLang="ko-KR" dirty="0"/>
            </a:p>
          </p:txBody>
        </p:sp>
      </p:grpSp>
      <p:pic>
        <p:nvPicPr>
          <p:cNvPr id="4" name="그림 3" descr="텍스트, 폰트, 번호, 스크린샷이(가) 표시된 사진&#10;&#10;자동 생성된 설명">
            <a:extLst>
              <a:ext uri="{FF2B5EF4-FFF2-40B4-BE49-F238E27FC236}">
                <a16:creationId xmlns:a16="http://schemas.microsoft.com/office/drawing/2014/main" id="{C4B9301D-29D0-BAC0-474B-1BB7D767A4FB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597600" y="2062800"/>
            <a:ext cx="2052000" cy="4294800"/>
          </a:xfrm>
          <a:prstGeom prst="rect">
            <a:avLst/>
          </a:prstGeom>
        </p:spPr>
      </p:pic>
      <p:grpSp>
        <p:nvGrpSpPr>
          <p:cNvPr id="3" name="그룹 2">
            <a:extLst>
              <a:ext uri="{FF2B5EF4-FFF2-40B4-BE49-F238E27FC236}">
                <a16:creationId xmlns:a16="http://schemas.microsoft.com/office/drawing/2014/main" id="{6C7B751F-BBB1-FCBC-3797-4066CC510ABF}"/>
              </a:ext>
            </a:extLst>
          </p:cNvPr>
          <p:cNvGrpSpPr/>
          <p:nvPr/>
        </p:nvGrpSpPr>
        <p:grpSpPr>
          <a:xfrm>
            <a:off x="9332155" y="2060848"/>
            <a:ext cx="860721" cy="230832"/>
            <a:chOff x="7316687" y="3282664"/>
            <a:chExt cx="860721" cy="230832"/>
          </a:xfrm>
        </p:grpSpPr>
        <p:sp>
          <p:nvSpPr>
            <p:cNvPr id="11" name="TextBox 174">
              <a:extLst>
                <a:ext uri="{FF2B5EF4-FFF2-40B4-BE49-F238E27FC236}">
                  <a16:creationId xmlns:a16="http://schemas.microsoft.com/office/drawing/2014/main" id="{1ECC77F6-FD00-B08F-AA45-4FA69C7BAC8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686406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추천 서비스</a:t>
              </a:r>
            </a:p>
          </p:txBody>
        </p:sp>
        <p:sp>
          <p:nvSpPr>
            <p:cNvPr id="12" name="모서리가 둥근 직사각형 84">
              <a:extLst>
                <a:ext uri="{FF2B5EF4-FFF2-40B4-BE49-F238E27FC236}">
                  <a16:creationId xmlns:a16="http://schemas.microsoft.com/office/drawing/2014/main" id="{85C982A5-917A-B955-F493-A8D0971CC7B6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2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3" name="그룹 12">
            <a:extLst>
              <a:ext uri="{FF2B5EF4-FFF2-40B4-BE49-F238E27FC236}">
                <a16:creationId xmlns:a16="http://schemas.microsoft.com/office/drawing/2014/main" id="{A5D04E82-807C-5733-703E-088B718C33A6}"/>
              </a:ext>
            </a:extLst>
          </p:cNvPr>
          <p:cNvGrpSpPr/>
          <p:nvPr/>
        </p:nvGrpSpPr>
        <p:grpSpPr>
          <a:xfrm>
            <a:off x="9292928" y="1268760"/>
            <a:ext cx="2573667" cy="628091"/>
            <a:chOff x="7031364" y="0"/>
            <a:chExt cx="2573667" cy="628091"/>
          </a:xfrm>
        </p:grpSpPr>
        <p:grpSp>
          <p:nvGrpSpPr>
            <p:cNvPr id="14" name="그룹 13">
              <a:extLst>
                <a:ext uri="{FF2B5EF4-FFF2-40B4-BE49-F238E27FC236}">
                  <a16:creationId xmlns:a16="http://schemas.microsoft.com/office/drawing/2014/main" id="{36A89C2F-2527-0357-2141-4D6AE76AD354}"/>
                </a:ext>
              </a:extLst>
            </p:cNvPr>
            <p:cNvGrpSpPr/>
            <p:nvPr/>
          </p:nvGrpSpPr>
          <p:grpSpPr>
            <a:xfrm>
              <a:off x="7070591" y="0"/>
              <a:ext cx="1044156" cy="230832"/>
              <a:chOff x="7316687" y="3282664"/>
              <a:chExt cx="1044156" cy="230832"/>
            </a:xfrm>
          </p:grpSpPr>
          <p:sp>
            <p:nvSpPr>
              <p:cNvPr id="16" name="TextBox 174">
                <a:extLst>
                  <a:ext uri="{FF2B5EF4-FFF2-40B4-BE49-F238E27FC236}">
                    <a16:creationId xmlns:a16="http://schemas.microsoft.com/office/drawing/2014/main" id="{32CDCF14-93F4-0230-BA78-0206A976BDF3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482076" y="3282664"/>
                <a:ext cx="878767" cy="2308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>
                  <a:defRPr/>
                </a:pPr>
                <a:r>
                  <a:rPr lang="ko-KR" altLang="en-US" sz="900" b="1" spc="-150" dirty="0">
                    <a:ln>
                      <a:solidFill>
                        <a:srgbClr val="5B9BD5">
                          <a:shade val="50000"/>
                          <a:alpha val="0"/>
                        </a:srgbClr>
                      </a:solidFill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+mn-ea"/>
                    <a:ea typeface="+mn-ea"/>
                  </a:rPr>
                  <a:t>마이페이지 이동</a:t>
                </a:r>
              </a:p>
            </p:txBody>
          </p:sp>
          <p:sp>
            <p:nvSpPr>
              <p:cNvPr id="17" name="모서리가 둥근 직사각형 84">
                <a:extLst>
                  <a:ext uri="{FF2B5EF4-FFF2-40B4-BE49-F238E27FC236}">
                    <a16:creationId xmlns:a16="http://schemas.microsoft.com/office/drawing/2014/main" id="{964B3462-F67F-7570-58FD-F1303880AA82}"/>
                  </a:ext>
                </a:extLst>
              </p:cNvPr>
              <p:cNvSpPr/>
              <p:nvPr/>
            </p:nvSpPr>
            <p:spPr>
              <a:xfrm>
                <a:off x="7316687" y="3317910"/>
                <a:ext cx="185041" cy="185041"/>
              </a:xfrm>
              <a:prstGeom prst="roundRect">
                <a:avLst/>
              </a:prstGeom>
              <a:solidFill>
                <a:srgbClr val="627EA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r>
                  <a:rPr lang="en-US" altLang="ko-KR" sz="900" spc="-150" dirty="0">
                    <a:ln>
                      <a:solidFill>
                        <a:srgbClr val="5B9BD5">
                          <a:shade val="50000"/>
                          <a:alpha val="0"/>
                        </a:srgbClr>
                      </a:solidFill>
                    </a:ln>
                    <a:solidFill>
                      <a:prstClr val="white"/>
                    </a:solidFill>
                    <a:latin typeface="+mn-ea"/>
                    <a:cs typeface="Arial" panose="020B0604020202020204" pitchFamily="34" charset="0"/>
                  </a:rPr>
                  <a:t>1</a:t>
                </a:r>
                <a:endParaRPr lang="ko-KR" altLang="en-US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5" name="TextBox 174">
              <a:extLst>
                <a:ext uri="{FF2B5EF4-FFF2-40B4-BE49-F238E27FC236}">
                  <a16:creationId xmlns:a16="http://schemas.microsoft.com/office/drawing/2014/main" id="{44A4AF42-2D46-141D-D037-EBD410E3F73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031364" y="220287"/>
              <a:ext cx="2573667" cy="4078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176213" indent="-176213">
                <a:spcBef>
                  <a:spcPts val="300"/>
                </a:spcBef>
                <a:buClr>
                  <a:srgbClr val="D0A660"/>
                </a:buClr>
                <a:buSzPct val="100000"/>
                <a:buBlip>
                  <a:blip r:embed="rId3"/>
                </a:buBlip>
                <a:defRPr/>
              </a:pPr>
              <a:r>
                <a:rPr lang="ko-KR" altLang="en-US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사용자 이름 표출</a:t>
              </a:r>
              <a:endPara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  <a:p>
              <a:pPr marL="176213" indent="-176213">
                <a:spcBef>
                  <a:spcPts val="300"/>
                </a:spcBef>
                <a:buClr>
                  <a:srgbClr val="D0A660"/>
                </a:buClr>
                <a:buSzPct val="100000"/>
                <a:buBlip>
                  <a:blip r:embed="rId3"/>
                </a:buBlip>
                <a:defRPr/>
              </a:pPr>
              <a:r>
                <a:rPr lang="ko-KR" altLang="en-US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클릭 시 </a:t>
              </a:r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, [</a:t>
              </a:r>
              <a:r>
                <a:rPr lang="ko-KR" altLang="en-US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마이페이지</a:t>
              </a:r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] </a:t>
              </a:r>
              <a:r>
                <a:rPr lang="ko-KR" altLang="en-US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화면으로 이동</a:t>
              </a:r>
              <a:endParaRPr lang="en-US" altLang="ko-KR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</p:grpSp>
      <p:grpSp>
        <p:nvGrpSpPr>
          <p:cNvPr id="18" name="그룹 17">
            <a:extLst>
              <a:ext uri="{FF2B5EF4-FFF2-40B4-BE49-F238E27FC236}">
                <a16:creationId xmlns:a16="http://schemas.microsoft.com/office/drawing/2014/main" id="{10DAA6B6-F773-3060-A563-CC4761C17EAA}"/>
              </a:ext>
            </a:extLst>
          </p:cNvPr>
          <p:cNvGrpSpPr/>
          <p:nvPr/>
        </p:nvGrpSpPr>
        <p:grpSpPr>
          <a:xfrm>
            <a:off x="9333009" y="2975425"/>
            <a:ext cx="860721" cy="230832"/>
            <a:chOff x="7316687" y="3282664"/>
            <a:chExt cx="860721" cy="230832"/>
          </a:xfrm>
        </p:grpSpPr>
        <p:sp>
          <p:nvSpPr>
            <p:cNvPr id="19" name="TextBox 174">
              <a:extLst>
                <a:ext uri="{FF2B5EF4-FFF2-40B4-BE49-F238E27FC236}">
                  <a16:creationId xmlns:a16="http://schemas.microsoft.com/office/drawing/2014/main" id="{18AD08D7-3417-3494-21DF-3BEEC9FCC74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686406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전체 서비스</a:t>
              </a:r>
            </a:p>
          </p:txBody>
        </p:sp>
        <p:sp>
          <p:nvSpPr>
            <p:cNvPr id="20" name="모서리가 둥근 직사각형 84">
              <a:extLst>
                <a:ext uri="{FF2B5EF4-FFF2-40B4-BE49-F238E27FC236}">
                  <a16:creationId xmlns:a16="http://schemas.microsoft.com/office/drawing/2014/main" id="{4DB618C9-84BE-C938-3F96-D0D9EF9B6F53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3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1" name="TextBox 174">
            <a:extLst>
              <a:ext uri="{FF2B5EF4-FFF2-40B4-BE49-F238E27FC236}">
                <a16:creationId xmlns:a16="http://schemas.microsoft.com/office/drawing/2014/main" id="{EFF63AFB-1371-3140-4B91-53771125A04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92928" y="3244094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3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전체 서비스를 카테고리로 분류하여 표출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sp>
        <p:nvSpPr>
          <p:cNvPr id="22" name="TextBox 174">
            <a:extLst>
              <a:ext uri="{FF2B5EF4-FFF2-40B4-BE49-F238E27FC236}">
                <a16:creationId xmlns:a16="http://schemas.microsoft.com/office/drawing/2014/main" id="{C5519B43-5928-4595-9BEA-8222C745381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92927" y="2318218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3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대표 추천 서비스를 격자 형식으로 표출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sp>
        <p:nvSpPr>
          <p:cNvPr id="27" name="모서리가 둥근 직사각형 84">
            <a:extLst>
              <a:ext uri="{FF2B5EF4-FFF2-40B4-BE49-F238E27FC236}">
                <a16:creationId xmlns:a16="http://schemas.microsoft.com/office/drawing/2014/main" id="{C60FDC44-271D-4EDE-937E-E83BE178B562}"/>
              </a:ext>
            </a:extLst>
          </p:cNvPr>
          <p:cNvSpPr/>
          <p:nvPr/>
        </p:nvSpPr>
        <p:spPr>
          <a:xfrm>
            <a:off x="456772" y="2725647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1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28" name="모서리가 둥근 직사각형 84">
            <a:extLst>
              <a:ext uri="{FF2B5EF4-FFF2-40B4-BE49-F238E27FC236}">
                <a16:creationId xmlns:a16="http://schemas.microsoft.com/office/drawing/2014/main" id="{5F14D668-2BB4-99F1-0FF9-99D6EF18CBAB}"/>
              </a:ext>
            </a:extLst>
          </p:cNvPr>
          <p:cNvSpPr/>
          <p:nvPr/>
        </p:nvSpPr>
        <p:spPr>
          <a:xfrm>
            <a:off x="463255" y="3136820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2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29" name="모서리가 둥근 직사각형 84">
            <a:extLst>
              <a:ext uri="{FF2B5EF4-FFF2-40B4-BE49-F238E27FC236}">
                <a16:creationId xmlns:a16="http://schemas.microsoft.com/office/drawing/2014/main" id="{C959DCBF-02D2-EE6D-9C84-A8B875B53C46}"/>
              </a:ext>
            </a:extLst>
          </p:cNvPr>
          <p:cNvSpPr/>
          <p:nvPr/>
        </p:nvSpPr>
        <p:spPr>
          <a:xfrm>
            <a:off x="447146" y="4437112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3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5623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 descr="텍스트, 스크린샷, 폰트, 번호이(가) 표시된 사진&#10;&#10;자동 생성된 설명">
            <a:extLst>
              <a:ext uri="{FF2B5EF4-FFF2-40B4-BE49-F238E27FC236}">
                <a16:creationId xmlns:a16="http://schemas.microsoft.com/office/drawing/2014/main" id="{E1655F5D-FA47-75E4-A4FC-5700A29F220D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597600" y="2062800"/>
            <a:ext cx="2052000" cy="4294800"/>
          </a:xfrm>
          <a:prstGeom prst="rect">
            <a:avLst/>
          </a:prstGeom>
        </p:spPr>
      </p:pic>
      <p:sp>
        <p:nvSpPr>
          <p:cNvPr id="2" name="제목 1">
            <a:extLst>
              <a:ext uri="{FF2B5EF4-FFF2-40B4-BE49-F238E27FC236}">
                <a16:creationId xmlns:a16="http://schemas.microsoft.com/office/drawing/2014/main" id="{0C5286BA-92CE-41FB-BB05-BE0F5BBA1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마이페이지</a:t>
            </a:r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B73B35C2-EB8A-4573-B037-7CC6DF06F86A}"/>
              </a:ext>
            </a:extLst>
          </p:cNvPr>
          <p:cNvGrpSpPr/>
          <p:nvPr/>
        </p:nvGrpSpPr>
        <p:grpSpPr>
          <a:xfrm>
            <a:off x="0" y="-3562"/>
            <a:ext cx="9226508" cy="6816938"/>
            <a:chOff x="-1952021" y="-3562"/>
            <a:chExt cx="9226508" cy="6816938"/>
          </a:xfrm>
        </p:grpSpPr>
        <p:cxnSp>
          <p:nvCxnSpPr>
            <p:cNvPr id="6" name="직선 연결선 5">
              <a:extLst>
                <a:ext uri="{FF2B5EF4-FFF2-40B4-BE49-F238E27FC236}">
                  <a16:creationId xmlns:a16="http://schemas.microsoft.com/office/drawing/2014/main" id="{B4C45666-B8F5-4C50-86A6-C4C0BE1D6FE0}"/>
                </a:ext>
              </a:extLst>
            </p:cNvPr>
            <p:cNvCxnSpPr>
              <a:cxnSpLocks/>
            </p:cNvCxnSpPr>
            <p:nvPr/>
          </p:nvCxnSpPr>
          <p:spPr>
            <a:xfrm>
              <a:off x="7257256" y="-3562"/>
              <a:ext cx="0" cy="6816938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직선 연결선 6">
              <a:extLst>
                <a:ext uri="{FF2B5EF4-FFF2-40B4-BE49-F238E27FC236}">
                  <a16:creationId xmlns:a16="http://schemas.microsoft.com/office/drawing/2014/main" id="{4860EB04-C536-404F-98C0-823E8ADC86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1952021" y="1563825"/>
              <a:ext cx="9226508" cy="0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0B76F625-D0A3-4C9E-8D76-BC231976DDDC}"/>
              </a:ext>
            </a:extLst>
          </p:cNvPr>
          <p:cNvGrpSpPr/>
          <p:nvPr/>
        </p:nvGrpSpPr>
        <p:grpSpPr>
          <a:xfrm>
            <a:off x="479376" y="908720"/>
            <a:ext cx="6759312" cy="338554"/>
            <a:chOff x="479376" y="-963488"/>
            <a:chExt cx="6759312" cy="338554"/>
          </a:xfrm>
        </p:grpSpPr>
        <p:sp>
          <p:nvSpPr>
            <p:cNvPr id="9" name="사각형: 둥근 모서리 8">
              <a:extLst>
                <a:ext uri="{FF2B5EF4-FFF2-40B4-BE49-F238E27FC236}">
                  <a16:creationId xmlns:a16="http://schemas.microsoft.com/office/drawing/2014/main" id="{F66EE92C-BEAA-4A28-9FFE-528E99678B1D}"/>
                </a:ext>
              </a:extLst>
            </p:cNvPr>
            <p:cNvSpPr/>
            <p:nvPr/>
          </p:nvSpPr>
          <p:spPr>
            <a:xfrm>
              <a:off x="479376" y="-946863"/>
              <a:ext cx="590358" cy="305304"/>
            </a:xfrm>
            <a:prstGeom prst="roundRect">
              <a:avLst>
                <a:gd name="adj" fmla="val 50000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>
                      <a:alpha val="50000"/>
                    </a:schemeClr>
                  </a:solidFill>
                  <a:latin typeface="+mn-ea"/>
                  <a:cs typeface="Arial" panose="020B0604020202020204" pitchFamily="34" charset="0"/>
                </a:rPr>
                <a:t>0</a:t>
              </a:r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C8869CF-0725-41FD-AE4C-2AF26212AA85}"/>
                </a:ext>
              </a:extLst>
            </p:cNvPr>
            <p:cNvSpPr txBox="1"/>
            <p:nvPr/>
          </p:nvSpPr>
          <p:spPr>
            <a:xfrm>
              <a:off x="1127448" y="-963488"/>
              <a:ext cx="6111240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R="0" indent="0" algn="just" fontAlgn="base" latinLnBrk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 sz="1600" kern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defRPr>
              </a:lvl1pPr>
            </a:lstStyle>
            <a:p>
              <a:r>
                <a:rPr lang="ko-KR" altLang="en-US"/>
                <a:t>마이페이지 </a:t>
              </a:r>
              <a:r>
                <a:rPr lang="en-US" altLang="ko-KR"/>
                <a:t>- </a:t>
              </a:r>
              <a:r>
                <a:rPr lang="ko-KR" altLang="en-US"/>
                <a:t>마이페이지</a:t>
              </a:r>
              <a:endParaRPr lang="en-US" altLang="ko-KR" dirty="0"/>
            </a:p>
          </p:txBody>
        </p:sp>
      </p:grpSp>
      <p:sp>
        <p:nvSpPr>
          <p:cNvPr id="12" name="모서리가 둥근 직사각형 84">
            <a:extLst>
              <a:ext uri="{FF2B5EF4-FFF2-40B4-BE49-F238E27FC236}">
                <a16:creationId xmlns:a16="http://schemas.microsoft.com/office/drawing/2014/main" id="{40C0C1BB-1310-41CD-A50E-950AB1CB1415}"/>
              </a:ext>
            </a:extLst>
          </p:cNvPr>
          <p:cNvSpPr/>
          <p:nvPr/>
        </p:nvSpPr>
        <p:spPr>
          <a:xfrm>
            <a:off x="503726" y="2789516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1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13" name="모서리가 둥근 직사각형 84">
            <a:extLst>
              <a:ext uri="{FF2B5EF4-FFF2-40B4-BE49-F238E27FC236}">
                <a16:creationId xmlns:a16="http://schemas.microsoft.com/office/drawing/2014/main" id="{14C0AF7B-0334-40DE-9010-FC98DC48EEE0}"/>
              </a:ext>
            </a:extLst>
          </p:cNvPr>
          <p:cNvSpPr/>
          <p:nvPr/>
        </p:nvSpPr>
        <p:spPr>
          <a:xfrm>
            <a:off x="503727" y="3339934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2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14" name="모서리가 둥근 직사각형 84">
            <a:extLst>
              <a:ext uri="{FF2B5EF4-FFF2-40B4-BE49-F238E27FC236}">
                <a16:creationId xmlns:a16="http://schemas.microsoft.com/office/drawing/2014/main" id="{AEFF03D6-10B0-4CD7-8F42-9ABE4EDA7750}"/>
              </a:ext>
            </a:extLst>
          </p:cNvPr>
          <p:cNvSpPr/>
          <p:nvPr/>
        </p:nvSpPr>
        <p:spPr>
          <a:xfrm>
            <a:off x="505079" y="3739774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3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15" name="모서리가 둥근 직사각형 84">
            <a:extLst>
              <a:ext uri="{FF2B5EF4-FFF2-40B4-BE49-F238E27FC236}">
                <a16:creationId xmlns:a16="http://schemas.microsoft.com/office/drawing/2014/main" id="{85CD310A-0712-4502-B034-A2361593CC72}"/>
              </a:ext>
            </a:extLst>
          </p:cNvPr>
          <p:cNvSpPr/>
          <p:nvPr/>
        </p:nvSpPr>
        <p:spPr>
          <a:xfrm>
            <a:off x="503725" y="4114964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4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16" name="모서리가 둥근 직사각형 84">
            <a:extLst>
              <a:ext uri="{FF2B5EF4-FFF2-40B4-BE49-F238E27FC236}">
                <a16:creationId xmlns:a16="http://schemas.microsoft.com/office/drawing/2014/main" id="{98B8B8FB-1291-4C78-9150-B93AB77CF79E}"/>
              </a:ext>
            </a:extLst>
          </p:cNvPr>
          <p:cNvSpPr/>
          <p:nvPr/>
        </p:nvSpPr>
        <p:spPr>
          <a:xfrm>
            <a:off x="501726" y="4356778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5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17" name="모서리가 둥근 직사각형 84">
            <a:extLst>
              <a:ext uri="{FF2B5EF4-FFF2-40B4-BE49-F238E27FC236}">
                <a16:creationId xmlns:a16="http://schemas.microsoft.com/office/drawing/2014/main" id="{FC693D46-DBCA-43E9-AB19-1F10D7AD9CC7}"/>
              </a:ext>
            </a:extLst>
          </p:cNvPr>
          <p:cNvSpPr/>
          <p:nvPr/>
        </p:nvSpPr>
        <p:spPr>
          <a:xfrm>
            <a:off x="501726" y="4718689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6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grpSp>
        <p:nvGrpSpPr>
          <p:cNvPr id="18" name="그룹 17">
            <a:extLst>
              <a:ext uri="{FF2B5EF4-FFF2-40B4-BE49-F238E27FC236}">
                <a16:creationId xmlns:a16="http://schemas.microsoft.com/office/drawing/2014/main" id="{C27A154C-1D97-46B9-9AB6-333657616D13}"/>
              </a:ext>
            </a:extLst>
          </p:cNvPr>
          <p:cNvGrpSpPr/>
          <p:nvPr/>
        </p:nvGrpSpPr>
        <p:grpSpPr>
          <a:xfrm>
            <a:off x="9297397" y="1268760"/>
            <a:ext cx="881560" cy="230832"/>
            <a:chOff x="7316687" y="3282664"/>
            <a:chExt cx="881560" cy="230832"/>
          </a:xfrm>
        </p:grpSpPr>
        <p:sp>
          <p:nvSpPr>
            <p:cNvPr id="19" name="TextBox 174">
              <a:extLst>
                <a:ext uri="{FF2B5EF4-FFF2-40B4-BE49-F238E27FC236}">
                  <a16:creationId xmlns:a16="http://schemas.microsoft.com/office/drawing/2014/main" id="{1571B607-5E31-4C60-8645-E040E5F46FF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70724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내 정보 관리</a:t>
              </a:r>
            </a:p>
          </p:txBody>
        </p:sp>
        <p:sp>
          <p:nvSpPr>
            <p:cNvPr id="20" name="모서리가 둥근 직사각형 84">
              <a:extLst>
                <a:ext uri="{FF2B5EF4-FFF2-40B4-BE49-F238E27FC236}">
                  <a16:creationId xmlns:a16="http://schemas.microsoft.com/office/drawing/2014/main" id="{6216D7B2-8659-439C-9BB2-81A30A80B7DB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1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1" name="그룹 20">
            <a:extLst>
              <a:ext uri="{FF2B5EF4-FFF2-40B4-BE49-F238E27FC236}">
                <a16:creationId xmlns:a16="http://schemas.microsoft.com/office/drawing/2014/main" id="{8D25E2E9-FD9F-48C4-9FB3-83B78EB79E70}"/>
              </a:ext>
            </a:extLst>
          </p:cNvPr>
          <p:cNvGrpSpPr/>
          <p:nvPr/>
        </p:nvGrpSpPr>
        <p:grpSpPr>
          <a:xfrm>
            <a:off x="9292128" y="1916832"/>
            <a:ext cx="1053082" cy="230832"/>
            <a:chOff x="7316687" y="3282664"/>
            <a:chExt cx="1053082" cy="230832"/>
          </a:xfrm>
        </p:grpSpPr>
        <p:sp>
          <p:nvSpPr>
            <p:cNvPr id="22" name="TextBox 174">
              <a:extLst>
                <a:ext uri="{FF2B5EF4-FFF2-40B4-BE49-F238E27FC236}">
                  <a16:creationId xmlns:a16="http://schemas.microsoft.com/office/drawing/2014/main" id="{DF746B4F-691F-41FC-AD75-10795576F74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878767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나의 전자처방전</a:t>
              </a:r>
            </a:p>
          </p:txBody>
        </p:sp>
        <p:sp>
          <p:nvSpPr>
            <p:cNvPr id="23" name="모서리가 둥근 직사각형 84">
              <a:extLst>
                <a:ext uri="{FF2B5EF4-FFF2-40B4-BE49-F238E27FC236}">
                  <a16:creationId xmlns:a16="http://schemas.microsoft.com/office/drawing/2014/main" id="{AF1A282B-1E28-4D26-99AE-2AAF9462BF23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2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4" name="그룹 23">
            <a:extLst>
              <a:ext uri="{FF2B5EF4-FFF2-40B4-BE49-F238E27FC236}">
                <a16:creationId xmlns:a16="http://schemas.microsoft.com/office/drawing/2014/main" id="{69F7980B-D618-4F4F-BD89-51FB6059B23E}"/>
              </a:ext>
            </a:extLst>
          </p:cNvPr>
          <p:cNvGrpSpPr/>
          <p:nvPr/>
        </p:nvGrpSpPr>
        <p:grpSpPr>
          <a:xfrm>
            <a:off x="9292129" y="3212976"/>
            <a:ext cx="860721" cy="230832"/>
            <a:chOff x="7316687" y="3282664"/>
            <a:chExt cx="860721" cy="230832"/>
          </a:xfrm>
        </p:grpSpPr>
        <p:sp>
          <p:nvSpPr>
            <p:cNvPr id="25" name="TextBox 174">
              <a:extLst>
                <a:ext uri="{FF2B5EF4-FFF2-40B4-BE49-F238E27FC236}">
                  <a16:creationId xmlns:a16="http://schemas.microsoft.com/office/drawing/2014/main" id="{6A9A32F6-F445-4ECF-9B98-B192D466EB7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686406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서비스 약관</a:t>
              </a:r>
            </a:p>
          </p:txBody>
        </p:sp>
        <p:sp>
          <p:nvSpPr>
            <p:cNvPr id="26" name="모서리가 둥근 직사각형 84">
              <a:extLst>
                <a:ext uri="{FF2B5EF4-FFF2-40B4-BE49-F238E27FC236}">
                  <a16:creationId xmlns:a16="http://schemas.microsoft.com/office/drawing/2014/main" id="{7A738F4B-8A8C-4B70-96D8-C45CCB2498F2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4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7" name="TextBox 174">
            <a:extLst>
              <a:ext uri="{FF2B5EF4-FFF2-40B4-BE49-F238E27FC236}">
                <a16:creationId xmlns:a16="http://schemas.microsoft.com/office/drawing/2014/main" id="{CC9A1D51-F966-4298-A155-EB601C03EA5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45892" y="1526737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[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내 정보 수정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]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화면으로 이동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grpSp>
        <p:nvGrpSpPr>
          <p:cNvPr id="28" name="그룹 27">
            <a:extLst>
              <a:ext uri="{FF2B5EF4-FFF2-40B4-BE49-F238E27FC236}">
                <a16:creationId xmlns:a16="http://schemas.microsoft.com/office/drawing/2014/main" id="{2B191039-5D59-4D3C-BA4B-3F0FE7F4DC4B}"/>
              </a:ext>
            </a:extLst>
          </p:cNvPr>
          <p:cNvGrpSpPr/>
          <p:nvPr/>
        </p:nvGrpSpPr>
        <p:grpSpPr>
          <a:xfrm>
            <a:off x="9303151" y="3861048"/>
            <a:ext cx="1287120" cy="230832"/>
            <a:chOff x="7316687" y="3282664"/>
            <a:chExt cx="1287120" cy="230832"/>
          </a:xfrm>
        </p:grpSpPr>
        <p:sp>
          <p:nvSpPr>
            <p:cNvPr id="29" name="TextBox 174">
              <a:extLst>
                <a:ext uri="{FF2B5EF4-FFF2-40B4-BE49-F238E27FC236}">
                  <a16:creationId xmlns:a16="http://schemas.microsoft.com/office/drawing/2014/main" id="{8379A0D5-A7B4-4EDF-A774-32608196A1B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111280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개인정보 수집 및 활용</a:t>
              </a:r>
            </a:p>
          </p:txBody>
        </p:sp>
        <p:sp>
          <p:nvSpPr>
            <p:cNvPr id="30" name="모서리가 둥근 직사각형 84">
              <a:extLst>
                <a:ext uri="{FF2B5EF4-FFF2-40B4-BE49-F238E27FC236}">
                  <a16:creationId xmlns:a16="http://schemas.microsoft.com/office/drawing/2014/main" id="{7A7AB6D8-F7B5-4324-9575-3E5CC705FB65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5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31" name="TextBox 174">
            <a:extLst>
              <a:ext uri="{FF2B5EF4-FFF2-40B4-BE49-F238E27FC236}">
                <a16:creationId xmlns:a16="http://schemas.microsoft.com/office/drawing/2014/main" id="{DB5DFC4B-ACCD-4FB2-A94F-DEBBC9CD4BC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63923" y="4134272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[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개인정보 수집 및 활용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]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화면으로 이동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grpSp>
        <p:nvGrpSpPr>
          <p:cNvPr id="32" name="그룹 31">
            <a:extLst>
              <a:ext uri="{FF2B5EF4-FFF2-40B4-BE49-F238E27FC236}">
                <a16:creationId xmlns:a16="http://schemas.microsoft.com/office/drawing/2014/main" id="{8A60047A-1A23-401F-AFEF-0A62C609E647}"/>
              </a:ext>
            </a:extLst>
          </p:cNvPr>
          <p:cNvGrpSpPr/>
          <p:nvPr/>
        </p:nvGrpSpPr>
        <p:grpSpPr>
          <a:xfrm>
            <a:off x="9311807" y="5307218"/>
            <a:ext cx="743702" cy="230832"/>
            <a:chOff x="7316687" y="3282664"/>
            <a:chExt cx="743702" cy="230832"/>
          </a:xfrm>
        </p:grpSpPr>
        <p:sp>
          <p:nvSpPr>
            <p:cNvPr id="33" name="TextBox 174">
              <a:extLst>
                <a:ext uri="{FF2B5EF4-FFF2-40B4-BE49-F238E27FC236}">
                  <a16:creationId xmlns:a16="http://schemas.microsoft.com/office/drawing/2014/main" id="{DE248695-CD58-4EC0-8B34-3AE716FFAD2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569387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로그아웃</a:t>
              </a:r>
            </a:p>
          </p:txBody>
        </p:sp>
        <p:sp>
          <p:nvSpPr>
            <p:cNvPr id="34" name="모서리가 둥근 직사각형 84">
              <a:extLst>
                <a:ext uri="{FF2B5EF4-FFF2-40B4-BE49-F238E27FC236}">
                  <a16:creationId xmlns:a16="http://schemas.microsoft.com/office/drawing/2014/main" id="{89C17236-8F94-4DF2-ACF0-BD94E1DCF05C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7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35" name="TextBox 174">
            <a:extLst>
              <a:ext uri="{FF2B5EF4-FFF2-40B4-BE49-F238E27FC236}">
                <a16:creationId xmlns:a16="http://schemas.microsoft.com/office/drawing/2014/main" id="{80A8898B-3046-4BCC-9010-601AE5861B4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56091" y="2219360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[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나의 전자처방전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]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화면으로 이동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grpSp>
        <p:nvGrpSpPr>
          <p:cNvPr id="36" name="그룹 35">
            <a:extLst>
              <a:ext uri="{FF2B5EF4-FFF2-40B4-BE49-F238E27FC236}">
                <a16:creationId xmlns:a16="http://schemas.microsoft.com/office/drawing/2014/main" id="{FA6854E2-C703-4F59-B7EC-8EEC6C21002A}"/>
              </a:ext>
            </a:extLst>
          </p:cNvPr>
          <p:cNvGrpSpPr/>
          <p:nvPr/>
        </p:nvGrpSpPr>
        <p:grpSpPr>
          <a:xfrm>
            <a:off x="9288938" y="2535600"/>
            <a:ext cx="764541" cy="230832"/>
            <a:chOff x="7316687" y="3282664"/>
            <a:chExt cx="764541" cy="230832"/>
          </a:xfrm>
        </p:grpSpPr>
        <p:sp>
          <p:nvSpPr>
            <p:cNvPr id="37" name="TextBox 174">
              <a:extLst>
                <a:ext uri="{FF2B5EF4-FFF2-40B4-BE49-F238E27FC236}">
                  <a16:creationId xmlns:a16="http://schemas.microsoft.com/office/drawing/2014/main" id="{BAABCD78-09F5-4ECB-B85C-A2C7468A150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590226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알림 설정</a:t>
              </a:r>
            </a:p>
          </p:txBody>
        </p:sp>
        <p:sp>
          <p:nvSpPr>
            <p:cNvPr id="38" name="모서리가 둥근 직사각형 84">
              <a:extLst>
                <a:ext uri="{FF2B5EF4-FFF2-40B4-BE49-F238E27FC236}">
                  <a16:creationId xmlns:a16="http://schemas.microsoft.com/office/drawing/2014/main" id="{DA1CE3B4-619C-40FC-ADEB-FDDE9442167E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3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39" name="TextBox 174">
            <a:extLst>
              <a:ext uri="{FF2B5EF4-FFF2-40B4-BE49-F238E27FC236}">
                <a16:creationId xmlns:a16="http://schemas.microsoft.com/office/drawing/2014/main" id="{6B960522-5495-4D29-ADBA-76701DD61FA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52901" y="2838128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[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알림 설정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]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화면으로 이동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sp>
        <p:nvSpPr>
          <p:cNvPr id="40" name="TextBox 174">
            <a:extLst>
              <a:ext uri="{FF2B5EF4-FFF2-40B4-BE49-F238E27FC236}">
                <a16:creationId xmlns:a16="http://schemas.microsoft.com/office/drawing/2014/main" id="{D2316F05-1194-46FA-94C9-1DABEAB3A6F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52901" y="3520079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[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서비스 약관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]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화면으로 이동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sp>
        <p:nvSpPr>
          <p:cNvPr id="3" name="모서리가 둥근 직사각형 84">
            <a:extLst>
              <a:ext uri="{FF2B5EF4-FFF2-40B4-BE49-F238E27FC236}">
                <a16:creationId xmlns:a16="http://schemas.microsoft.com/office/drawing/2014/main" id="{1787A878-4676-CF9C-B574-A514662D01B4}"/>
              </a:ext>
            </a:extLst>
          </p:cNvPr>
          <p:cNvSpPr/>
          <p:nvPr/>
        </p:nvSpPr>
        <p:spPr>
          <a:xfrm>
            <a:off x="498206" y="4934419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7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3C1A072A-9EC8-696F-619F-8E81BD2777C8}"/>
              </a:ext>
            </a:extLst>
          </p:cNvPr>
          <p:cNvGrpSpPr/>
          <p:nvPr/>
        </p:nvGrpSpPr>
        <p:grpSpPr>
          <a:xfrm>
            <a:off x="9303151" y="4476995"/>
            <a:ext cx="764541" cy="230832"/>
            <a:chOff x="7316687" y="3282664"/>
            <a:chExt cx="764541" cy="230832"/>
          </a:xfrm>
        </p:grpSpPr>
        <p:sp>
          <p:nvSpPr>
            <p:cNvPr id="41" name="TextBox 174">
              <a:extLst>
                <a:ext uri="{FF2B5EF4-FFF2-40B4-BE49-F238E27FC236}">
                  <a16:creationId xmlns:a16="http://schemas.microsoft.com/office/drawing/2014/main" id="{0E6F594C-D48A-16FE-8D8B-43106AE29E6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590226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버전 정보</a:t>
              </a:r>
            </a:p>
          </p:txBody>
        </p:sp>
        <p:sp>
          <p:nvSpPr>
            <p:cNvPr id="42" name="모서리가 둥근 직사각형 84">
              <a:extLst>
                <a:ext uri="{FF2B5EF4-FFF2-40B4-BE49-F238E27FC236}">
                  <a16:creationId xmlns:a16="http://schemas.microsoft.com/office/drawing/2014/main" id="{40DA4F7D-2F64-E3FE-E180-6AA87B6AABDA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6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43" name="TextBox 174">
            <a:extLst>
              <a:ext uri="{FF2B5EF4-FFF2-40B4-BE49-F238E27FC236}">
                <a16:creationId xmlns:a16="http://schemas.microsoft.com/office/drawing/2014/main" id="{7E2AA072-19D7-F297-1E80-3DCB99BDFCD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63923" y="4750219"/>
            <a:ext cx="2573667" cy="4078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[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버전 정보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]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화면으로 이동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앱의 버전 및 사용  중인 라이센스 정보 표출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12544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 descr="텍스트, 스크린샷, 번호, 폰트이(가) 표시된 사진&#10;&#10;자동 생성된 설명">
            <a:extLst>
              <a:ext uri="{FF2B5EF4-FFF2-40B4-BE49-F238E27FC236}">
                <a16:creationId xmlns:a16="http://schemas.microsoft.com/office/drawing/2014/main" id="{01015A15-F018-CBC4-572B-AE6DC951A71F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597600" y="2062800"/>
            <a:ext cx="2052000" cy="4294800"/>
          </a:xfrm>
          <a:prstGeom prst="rect">
            <a:avLst/>
          </a:prstGeom>
        </p:spPr>
      </p:pic>
      <p:pic>
        <p:nvPicPr>
          <p:cNvPr id="12" name="그림 11" descr="텍스트, 스크린샷, 폰트, 번호이(가) 표시된 사진&#10;&#10;자동 생성된 설명">
            <a:extLst>
              <a:ext uri="{FF2B5EF4-FFF2-40B4-BE49-F238E27FC236}">
                <a16:creationId xmlns:a16="http://schemas.microsoft.com/office/drawing/2014/main" id="{5C616677-4102-2BF6-42D9-FD7C3B8AF129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2880000" y="2062800"/>
            <a:ext cx="2052000" cy="4294800"/>
          </a:xfrm>
          <a:prstGeom prst="rect">
            <a:avLst/>
          </a:prstGeom>
        </p:spPr>
      </p:pic>
      <p:sp>
        <p:nvSpPr>
          <p:cNvPr id="2" name="제목 1">
            <a:extLst>
              <a:ext uri="{FF2B5EF4-FFF2-40B4-BE49-F238E27FC236}">
                <a16:creationId xmlns:a16="http://schemas.microsoft.com/office/drawing/2014/main" id="{0C5286BA-92CE-41FB-BB05-BE0F5BBA1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마이페이지</a:t>
            </a:r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B73B35C2-EB8A-4573-B037-7CC6DF06F86A}"/>
              </a:ext>
            </a:extLst>
          </p:cNvPr>
          <p:cNvGrpSpPr/>
          <p:nvPr/>
        </p:nvGrpSpPr>
        <p:grpSpPr>
          <a:xfrm>
            <a:off x="0" y="-3562"/>
            <a:ext cx="9226508" cy="6816938"/>
            <a:chOff x="-1952021" y="-3562"/>
            <a:chExt cx="9226508" cy="6816938"/>
          </a:xfrm>
        </p:grpSpPr>
        <p:cxnSp>
          <p:nvCxnSpPr>
            <p:cNvPr id="6" name="직선 연결선 5">
              <a:extLst>
                <a:ext uri="{FF2B5EF4-FFF2-40B4-BE49-F238E27FC236}">
                  <a16:creationId xmlns:a16="http://schemas.microsoft.com/office/drawing/2014/main" id="{B4C45666-B8F5-4C50-86A6-C4C0BE1D6FE0}"/>
                </a:ext>
              </a:extLst>
            </p:cNvPr>
            <p:cNvCxnSpPr>
              <a:cxnSpLocks/>
            </p:cNvCxnSpPr>
            <p:nvPr/>
          </p:nvCxnSpPr>
          <p:spPr>
            <a:xfrm>
              <a:off x="7257256" y="-3562"/>
              <a:ext cx="0" cy="6816938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직선 연결선 6">
              <a:extLst>
                <a:ext uri="{FF2B5EF4-FFF2-40B4-BE49-F238E27FC236}">
                  <a16:creationId xmlns:a16="http://schemas.microsoft.com/office/drawing/2014/main" id="{4860EB04-C536-404F-98C0-823E8ADC86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1952021" y="1563825"/>
              <a:ext cx="9226508" cy="0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0B76F625-D0A3-4C9E-8D76-BC231976DDDC}"/>
              </a:ext>
            </a:extLst>
          </p:cNvPr>
          <p:cNvGrpSpPr/>
          <p:nvPr/>
        </p:nvGrpSpPr>
        <p:grpSpPr>
          <a:xfrm>
            <a:off x="479376" y="908720"/>
            <a:ext cx="6759312" cy="338554"/>
            <a:chOff x="479376" y="-963488"/>
            <a:chExt cx="6759312" cy="338554"/>
          </a:xfrm>
        </p:grpSpPr>
        <p:sp>
          <p:nvSpPr>
            <p:cNvPr id="9" name="사각형: 둥근 모서리 8">
              <a:extLst>
                <a:ext uri="{FF2B5EF4-FFF2-40B4-BE49-F238E27FC236}">
                  <a16:creationId xmlns:a16="http://schemas.microsoft.com/office/drawing/2014/main" id="{F66EE92C-BEAA-4A28-9FFE-528E99678B1D}"/>
                </a:ext>
              </a:extLst>
            </p:cNvPr>
            <p:cNvSpPr/>
            <p:nvPr/>
          </p:nvSpPr>
          <p:spPr>
            <a:xfrm>
              <a:off x="479376" y="-946863"/>
              <a:ext cx="590358" cy="305304"/>
            </a:xfrm>
            <a:prstGeom prst="roundRect">
              <a:avLst>
                <a:gd name="adj" fmla="val 50000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>
                      <a:alpha val="50000"/>
                    </a:schemeClr>
                  </a:solidFill>
                  <a:latin typeface="+mn-ea"/>
                  <a:cs typeface="Arial" panose="020B0604020202020204" pitchFamily="34" charset="0"/>
                </a:rPr>
                <a:t>0</a:t>
              </a:r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C8869CF-0725-41FD-AE4C-2AF26212AA85}"/>
                </a:ext>
              </a:extLst>
            </p:cNvPr>
            <p:cNvSpPr txBox="1"/>
            <p:nvPr/>
          </p:nvSpPr>
          <p:spPr>
            <a:xfrm>
              <a:off x="1127448" y="-963488"/>
              <a:ext cx="6111240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R="0" indent="0" algn="just" fontAlgn="base" latinLnBrk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 sz="1600" kern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defRPr>
              </a:lvl1pPr>
            </a:lstStyle>
            <a:p>
              <a:r>
                <a:rPr lang="ko-KR" altLang="en-US"/>
                <a:t>마이페이지 </a:t>
              </a:r>
              <a:r>
                <a:rPr lang="en-US" altLang="ko-KR" dirty="0"/>
                <a:t>–</a:t>
              </a:r>
              <a:r>
                <a:rPr lang="ko-KR" altLang="en-US" dirty="0"/>
                <a:t>개인 </a:t>
              </a:r>
              <a:r>
                <a:rPr lang="ko-KR" altLang="en-US"/>
                <a:t>정보 관리</a:t>
              </a:r>
              <a:endParaRPr lang="en-US" altLang="ko-KR" dirty="0"/>
            </a:p>
          </p:txBody>
        </p:sp>
      </p:grpSp>
      <p:sp>
        <p:nvSpPr>
          <p:cNvPr id="42" name="모서리가 둥근 직사각형 84">
            <a:extLst>
              <a:ext uri="{FF2B5EF4-FFF2-40B4-BE49-F238E27FC236}">
                <a16:creationId xmlns:a16="http://schemas.microsoft.com/office/drawing/2014/main" id="{2EA810F5-D5F0-4A7E-84C2-C11E00DAE153}"/>
              </a:ext>
            </a:extLst>
          </p:cNvPr>
          <p:cNvSpPr/>
          <p:nvPr/>
        </p:nvSpPr>
        <p:spPr>
          <a:xfrm>
            <a:off x="1991544" y="2825243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1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43" name="모서리가 둥근 직사각형 84">
            <a:extLst>
              <a:ext uri="{FF2B5EF4-FFF2-40B4-BE49-F238E27FC236}">
                <a16:creationId xmlns:a16="http://schemas.microsoft.com/office/drawing/2014/main" id="{E8A3209F-03AC-44A1-A227-8247BBDAE994}"/>
              </a:ext>
            </a:extLst>
          </p:cNvPr>
          <p:cNvSpPr/>
          <p:nvPr/>
        </p:nvSpPr>
        <p:spPr>
          <a:xfrm>
            <a:off x="560941" y="3209119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2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45" name="모서리가 둥근 직사각형 84">
            <a:extLst>
              <a:ext uri="{FF2B5EF4-FFF2-40B4-BE49-F238E27FC236}">
                <a16:creationId xmlns:a16="http://schemas.microsoft.com/office/drawing/2014/main" id="{325A653F-EBCD-4196-836A-69122117677F}"/>
              </a:ext>
            </a:extLst>
          </p:cNvPr>
          <p:cNvSpPr/>
          <p:nvPr/>
        </p:nvSpPr>
        <p:spPr>
          <a:xfrm>
            <a:off x="582367" y="4365104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3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46" name="모서리가 둥근 직사각형 84">
            <a:extLst>
              <a:ext uri="{FF2B5EF4-FFF2-40B4-BE49-F238E27FC236}">
                <a16:creationId xmlns:a16="http://schemas.microsoft.com/office/drawing/2014/main" id="{D18D7AA7-E98D-41DE-B105-04CAA1A2A448}"/>
              </a:ext>
            </a:extLst>
          </p:cNvPr>
          <p:cNvSpPr/>
          <p:nvPr/>
        </p:nvSpPr>
        <p:spPr>
          <a:xfrm>
            <a:off x="582367" y="4619180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4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47" name="모서리가 둥근 직사각형 84">
            <a:extLst>
              <a:ext uri="{FF2B5EF4-FFF2-40B4-BE49-F238E27FC236}">
                <a16:creationId xmlns:a16="http://schemas.microsoft.com/office/drawing/2014/main" id="{245258B5-4C4D-4A1B-8FA2-1EADCF50E491}"/>
              </a:ext>
            </a:extLst>
          </p:cNvPr>
          <p:cNvSpPr/>
          <p:nvPr/>
        </p:nvSpPr>
        <p:spPr>
          <a:xfrm>
            <a:off x="2870324" y="2711921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5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48" name="모서리가 둥근 직사각형 84">
            <a:extLst>
              <a:ext uri="{FF2B5EF4-FFF2-40B4-BE49-F238E27FC236}">
                <a16:creationId xmlns:a16="http://schemas.microsoft.com/office/drawing/2014/main" id="{9D060349-F70E-41AF-8618-E963785999E7}"/>
              </a:ext>
            </a:extLst>
          </p:cNvPr>
          <p:cNvSpPr/>
          <p:nvPr/>
        </p:nvSpPr>
        <p:spPr>
          <a:xfrm>
            <a:off x="2870325" y="3909358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6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grpSp>
        <p:nvGrpSpPr>
          <p:cNvPr id="49" name="그룹 48">
            <a:extLst>
              <a:ext uri="{FF2B5EF4-FFF2-40B4-BE49-F238E27FC236}">
                <a16:creationId xmlns:a16="http://schemas.microsoft.com/office/drawing/2014/main" id="{B99448E0-2BB4-40ED-B24E-2DA8805F34E0}"/>
              </a:ext>
            </a:extLst>
          </p:cNvPr>
          <p:cNvGrpSpPr/>
          <p:nvPr/>
        </p:nvGrpSpPr>
        <p:grpSpPr>
          <a:xfrm>
            <a:off x="9291190" y="1268760"/>
            <a:ext cx="1053082" cy="230832"/>
            <a:chOff x="7316687" y="3282664"/>
            <a:chExt cx="1053082" cy="230832"/>
          </a:xfrm>
        </p:grpSpPr>
        <p:sp>
          <p:nvSpPr>
            <p:cNvPr id="50" name="TextBox 174">
              <a:extLst>
                <a:ext uri="{FF2B5EF4-FFF2-40B4-BE49-F238E27FC236}">
                  <a16:creationId xmlns:a16="http://schemas.microsoft.com/office/drawing/2014/main" id="{F9B3E535-4093-48FC-88A7-86B9927410C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878767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비밀번호 재설정</a:t>
              </a:r>
            </a:p>
          </p:txBody>
        </p:sp>
        <p:sp>
          <p:nvSpPr>
            <p:cNvPr id="51" name="모서리가 둥근 직사각형 84">
              <a:extLst>
                <a:ext uri="{FF2B5EF4-FFF2-40B4-BE49-F238E27FC236}">
                  <a16:creationId xmlns:a16="http://schemas.microsoft.com/office/drawing/2014/main" id="{1B152EF1-217A-4D64-BC82-2E85CB1B9E35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1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52" name="그룹 51">
            <a:extLst>
              <a:ext uri="{FF2B5EF4-FFF2-40B4-BE49-F238E27FC236}">
                <a16:creationId xmlns:a16="http://schemas.microsoft.com/office/drawing/2014/main" id="{0AE3F597-CE19-41A2-8DB0-0280AC75060C}"/>
              </a:ext>
            </a:extLst>
          </p:cNvPr>
          <p:cNvGrpSpPr/>
          <p:nvPr/>
        </p:nvGrpSpPr>
        <p:grpSpPr>
          <a:xfrm>
            <a:off x="9285921" y="1877026"/>
            <a:ext cx="764541" cy="230832"/>
            <a:chOff x="7316687" y="3282664"/>
            <a:chExt cx="764541" cy="230832"/>
          </a:xfrm>
        </p:grpSpPr>
        <p:sp>
          <p:nvSpPr>
            <p:cNvPr id="53" name="TextBox 174">
              <a:extLst>
                <a:ext uri="{FF2B5EF4-FFF2-40B4-BE49-F238E27FC236}">
                  <a16:creationId xmlns:a16="http://schemas.microsoft.com/office/drawing/2014/main" id="{5252910F-23DF-4990-BB37-05EC558E749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590226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정보 수정</a:t>
              </a:r>
            </a:p>
          </p:txBody>
        </p:sp>
        <p:sp>
          <p:nvSpPr>
            <p:cNvPr id="54" name="모서리가 둥근 직사각형 84">
              <a:extLst>
                <a:ext uri="{FF2B5EF4-FFF2-40B4-BE49-F238E27FC236}">
                  <a16:creationId xmlns:a16="http://schemas.microsoft.com/office/drawing/2014/main" id="{640085CE-EABA-4708-8681-3DD7A5347CDC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2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55" name="그룹 54">
            <a:extLst>
              <a:ext uri="{FF2B5EF4-FFF2-40B4-BE49-F238E27FC236}">
                <a16:creationId xmlns:a16="http://schemas.microsoft.com/office/drawing/2014/main" id="{F67668D3-6D0B-4DCC-B2FB-8668E923C982}"/>
              </a:ext>
            </a:extLst>
          </p:cNvPr>
          <p:cNvGrpSpPr/>
          <p:nvPr/>
        </p:nvGrpSpPr>
        <p:grpSpPr>
          <a:xfrm>
            <a:off x="9285922" y="3861048"/>
            <a:ext cx="743702" cy="230832"/>
            <a:chOff x="7316687" y="3282664"/>
            <a:chExt cx="743702" cy="230832"/>
          </a:xfrm>
        </p:grpSpPr>
        <p:sp>
          <p:nvSpPr>
            <p:cNvPr id="56" name="TextBox 174">
              <a:extLst>
                <a:ext uri="{FF2B5EF4-FFF2-40B4-BE49-F238E27FC236}">
                  <a16:creationId xmlns:a16="http://schemas.microsoft.com/office/drawing/2014/main" id="{4EACFFEF-86E2-41F5-BD1A-311CC697A79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569387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회원탈퇴</a:t>
              </a:r>
            </a:p>
          </p:txBody>
        </p:sp>
        <p:sp>
          <p:nvSpPr>
            <p:cNvPr id="57" name="모서리가 둥근 직사각형 84">
              <a:extLst>
                <a:ext uri="{FF2B5EF4-FFF2-40B4-BE49-F238E27FC236}">
                  <a16:creationId xmlns:a16="http://schemas.microsoft.com/office/drawing/2014/main" id="{8EFB7C3A-5BF6-40A8-8926-2BE2CCD86798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4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58" name="TextBox 174">
            <a:extLst>
              <a:ext uri="{FF2B5EF4-FFF2-40B4-BE49-F238E27FC236}">
                <a16:creationId xmlns:a16="http://schemas.microsoft.com/office/drawing/2014/main" id="{B3503159-0007-4A2E-8D53-A8E586F0CD6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39685" y="1526737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클릭 시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[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비밀번호 재설정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]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화면으로 이동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grpSp>
        <p:nvGrpSpPr>
          <p:cNvPr id="59" name="그룹 58">
            <a:extLst>
              <a:ext uri="{FF2B5EF4-FFF2-40B4-BE49-F238E27FC236}">
                <a16:creationId xmlns:a16="http://schemas.microsoft.com/office/drawing/2014/main" id="{2B99237D-B93A-4889-9E7E-CBE27B9E212F}"/>
              </a:ext>
            </a:extLst>
          </p:cNvPr>
          <p:cNvGrpSpPr/>
          <p:nvPr/>
        </p:nvGrpSpPr>
        <p:grpSpPr>
          <a:xfrm>
            <a:off x="9294621" y="4458915"/>
            <a:ext cx="956902" cy="230832"/>
            <a:chOff x="7316687" y="3282664"/>
            <a:chExt cx="956902" cy="230832"/>
          </a:xfrm>
        </p:grpSpPr>
        <p:sp>
          <p:nvSpPr>
            <p:cNvPr id="60" name="TextBox 174">
              <a:extLst>
                <a:ext uri="{FF2B5EF4-FFF2-40B4-BE49-F238E27FC236}">
                  <a16:creationId xmlns:a16="http://schemas.microsoft.com/office/drawing/2014/main" id="{F4EBDAAF-3D64-436D-846A-D15A84B297F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782587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비밀번호 변경</a:t>
              </a:r>
            </a:p>
          </p:txBody>
        </p:sp>
        <p:sp>
          <p:nvSpPr>
            <p:cNvPr id="61" name="모서리가 둥근 직사각형 84">
              <a:extLst>
                <a:ext uri="{FF2B5EF4-FFF2-40B4-BE49-F238E27FC236}">
                  <a16:creationId xmlns:a16="http://schemas.microsoft.com/office/drawing/2014/main" id="{37128DC9-2E45-4873-9FE7-38CB3D22337B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5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62" name="그룹 61">
            <a:extLst>
              <a:ext uri="{FF2B5EF4-FFF2-40B4-BE49-F238E27FC236}">
                <a16:creationId xmlns:a16="http://schemas.microsoft.com/office/drawing/2014/main" id="{23FA756F-7102-47CA-BD52-06429F919E45}"/>
              </a:ext>
            </a:extLst>
          </p:cNvPr>
          <p:cNvGrpSpPr/>
          <p:nvPr/>
        </p:nvGrpSpPr>
        <p:grpSpPr>
          <a:xfrm>
            <a:off x="9282731" y="3212976"/>
            <a:ext cx="1094760" cy="230832"/>
            <a:chOff x="7316687" y="3282664"/>
            <a:chExt cx="1094760" cy="230832"/>
          </a:xfrm>
        </p:grpSpPr>
        <p:sp>
          <p:nvSpPr>
            <p:cNvPr id="63" name="TextBox 174">
              <a:extLst>
                <a:ext uri="{FF2B5EF4-FFF2-40B4-BE49-F238E27FC236}">
                  <a16:creationId xmlns:a16="http://schemas.microsoft.com/office/drawing/2014/main" id="{D862B959-9F14-4185-B6F6-FC22BD35C7B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92044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내 정보 저장 버튼</a:t>
              </a:r>
            </a:p>
          </p:txBody>
        </p:sp>
        <p:sp>
          <p:nvSpPr>
            <p:cNvPr id="64" name="모서리가 둥근 직사각형 84">
              <a:extLst>
                <a:ext uri="{FF2B5EF4-FFF2-40B4-BE49-F238E27FC236}">
                  <a16:creationId xmlns:a16="http://schemas.microsoft.com/office/drawing/2014/main" id="{7438B9C3-8E52-4B10-B875-C45A8EF4DF0F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3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65" name="TextBox 174">
            <a:extLst>
              <a:ext uri="{FF2B5EF4-FFF2-40B4-BE49-F238E27FC236}">
                <a16:creationId xmlns:a16="http://schemas.microsoft.com/office/drawing/2014/main" id="{5D2767BB-4FB0-4AD3-8721-D9215A436D4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46694" y="3515504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클릭 시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내 정보 저장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sp>
        <p:nvSpPr>
          <p:cNvPr id="66" name="TextBox 174">
            <a:extLst>
              <a:ext uri="{FF2B5EF4-FFF2-40B4-BE49-F238E27FC236}">
                <a16:creationId xmlns:a16="http://schemas.microsoft.com/office/drawing/2014/main" id="{0956EB71-0D92-495A-8902-FE3E8B51F1B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39684" y="2163777"/>
            <a:ext cx="2573667" cy="9002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  <a:buClr>
                <a:srgbClr val="D0A660"/>
              </a:buClr>
              <a:buSzPct val="100000"/>
              <a:defRPr/>
            </a:pPr>
            <a:r>
              <a: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수정할 항목 입력</a:t>
            </a:r>
            <a:endParaRPr lang="en-US" altLang="ko-KR" sz="900" b="1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이름</a:t>
            </a:r>
            <a:endParaRPr lang="en-US" altLang="ko-KR" sz="900" b="1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휴대폰 번호</a:t>
            </a:r>
            <a:r>
              <a:rPr lang="en-US" altLang="ko-KR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(’-’</a:t>
            </a:r>
            <a:r>
              <a: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없이</a:t>
            </a:r>
            <a:r>
              <a:rPr lang="en-US" altLang="ko-KR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)</a:t>
            </a:r>
            <a:br>
              <a:rPr lang="en-US" altLang="ko-KR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</a:b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예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)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01011112222</a:t>
            </a:r>
            <a:endParaRPr lang="en-US" altLang="ko-KR" sz="900" b="1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주소</a:t>
            </a:r>
            <a:endParaRPr lang="en-US" altLang="ko-KR" sz="900" b="1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sp>
        <p:nvSpPr>
          <p:cNvPr id="67" name="TextBox 174">
            <a:extLst>
              <a:ext uri="{FF2B5EF4-FFF2-40B4-BE49-F238E27FC236}">
                <a16:creationId xmlns:a16="http://schemas.microsoft.com/office/drawing/2014/main" id="{A108EA4A-65CC-4F16-A6C2-5A55142EF7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37360" y="4711701"/>
            <a:ext cx="2573667" cy="7617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en-US" altLang="ko-KR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[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필수 입력정보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]</a:t>
            </a: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현재 비밀번호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새로운 비밀번호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새로운 비밀번호 확인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</p:txBody>
      </p:sp>
      <p:grpSp>
        <p:nvGrpSpPr>
          <p:cNvPr id="68" name="그룹 67">
            <a:extLst>
              <a:ext uri="{FF2B5EF4-FFF2-40B4-BE49-F238E27FC236}">
                <a16:creationId xmlns:a16="http://schemas.microsoft.com/office/drawing/2014/main" id="{A0104BE9-1755-410C-98EF-A5E81EA26C73}"/>
              </a:ext>
            </a:extLst>
          </p:cNvPr>
          <p:cNvGrpSpPr/>
          <p:nvPr/>
        </p:nvGrpSpPr>
        <p:grpSpPr>
          <a:xfrm>
            <a:off x="9297638" y="5589240"/>
            <a:ext cx="1266281" cy="230832"/>
            <a:chOff x="7316687" y="3282664"/>
            <a:chExt cx="1266281" cy="230832"/>
          </a:xfrm>
        </p:grpSpPr>
        <p:sp>
          <p:nvSpPr>
            <p:cNvPr id="69" name="TextBox 174">
              <a:extLst>
                <a:ext uri="{FF2B5EF4-FFF2-40B4-BE49-F238E27FC236}">
                  <a16:creationId xmlns:a16="http://schemas.microsoft.com/office/drawing/2014/main" id="{EA7C2B84-7CF7-4E54-A51D-741BB859DA1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1091966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비밀번호 재설정 버튼</a:t>
              </a:r>
            </a:p>
          </p:txBody>
        </p:sp>
        <p:sp>
          <p:nvSpPr>
            <p:cNvPr id="70" name="모서리가 둥근 직사각형 84">
              <a:extLst>
                <a:ext uri="{FF2B5EF4-FFF2-40B4-BE49-F238E27FC236}">
                  <a16:creationId xmlns:a16="http://schemas.microsoft.com/office/drawing/2014/main" id="{0D0D796F-2B9F-4BBF-8711-1C97CE2BDEF9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6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71" name="TextBox 174">
            <a:extLst>
              <a:ext uri="{FF2B5EF4-FFF2-40B4-BE49-F238E27FC236}">
                <a16:creationId xmlns:a16="http://schemas.microsoft.com/office/drawing/2014/main" id="{3132A0E7-71DF-4237-9240-BFA69621E7B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61601" y="5844515"/>
            <a:ext cx="2573667" cy="4078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클릭 시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새로운 비밀번호로 재설정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[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로그인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]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화면으로 이동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</p:txBody>
      </p:sp>
      <p:sp>
        <p:nvSpPr>
          <p:cNvPr id="72" name="TextBox 174">
            <a:extLst>
              <a:ext uri="{FF2B5EF4-FFF2-40B4-BE49-F238E27FC236}">
                <a16:creationId xmlns:a16="http://schemas.microsoft.com/office/drawing/2014/main" id="{2D9E7605-34B2-4F53-95EB-E20AE82876A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63923" y="4105189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클릭 시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 회원탈퇴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149561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그림 10" descr="텍스트, 폰트, 스크린샷이(가) 표시된 사진&#10;&#10;자동 생성된 설명">
            <a:extLst>
              <a:ext uri="{FF2B5EF4-FFF2-40B4-BE49-F238E27FC236}">
                <a16:creationId xmlns:a16="http://schemas.microsoft.com/office/drawing/2014/main" id="{6702114C-2B40-D107-A467-91C04C3B8527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597600" y="2062800"/>
            <a:ext cx="2052000" cy="4294800"/>
          </a:xfrm>
          <a:prstGeom prst="rect">
            <a:avLst/>
          </a:prstGeom>
        </p:spPr>
      </p:pic>
      <p:sp>
        <p:nvSpPr>
          <p:cNvPr id="2" name="제목 1">
            <a:extLst>
              <a:ext uri="{FF2B5EF4-FFF2-40B4-BE49-F238E27FC236}">
                <a16:creationId xmlns:a16="http://schemas.microsoft.com/office/drawing/2014/main" id="{0C5286BA-92CE-41FB-BB05-BE0F5BBA1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마이페이지</a:t>
            </a:r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B73B35C2-EB8A-4573-B037-7CC6DF06F86A}"/>
              </a:ext>
            </a:extLst>
          </p:cNvPr>
          <p:cNvGrpSpPr/>
          <p:nvPr/>
        </p:nvGrpSpPr>
        <p:grpSpPr>
          <a:xfrm>
            <a:off x="0" y="-3562"/>
            <a:ext cx="9226508" cy="6816938"/>
            <a:chOff x="-1952021" y="-3562"/>
            <a:chExt cx="9226508" cy="6816938"/>
          </a:xfrm>
        </p:grpSpPr>
        <p:cxnSp>
          <p:nvCxnSpPr>
            <p:cNvPr id="6" name="직선 연결선 5">
              <a:extLst>
                <a:ext uri="{FF2B5EF4-FFF2-40B4-BE49-F238E27FC236}">
                  <a16:creationId xmlns:a16="http://schemas.microsoft.com/office/drawing/2014/main" id="{B4C45666-B8F5-4C50-86A6-C4C0BE1D6FE0}"/>
                </a:ext>
              </a:extLst>
            </p:cNvPr>
            <p:cNvCxnSpPr>
              <a:cxnSpLocks/>
            </p:cNvCxnSpPr>
            <p:nvPr/>
          </p:nvCxnSpPr>
          <p:spPr>
            <a:xfrm>
              <a:off x="7257256" y="-3562"/>
              <a:ext cx="0" cy="6816938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직선 연결선 6">
              <a:extLst>
                <a:ext uri="{FF2B5EF4-FFF2-40B4-BE49-F238E27FC236}">
                  <a16:creationId xmlns:a16="http://schemas.microsoft.com/office/drawing/2014/main" id="{4860EB04-C536-404F-98C0-823E8ADC86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1952021" y="1563825"/>
              <a:ext cx="9226508" cy="0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0B76F625-D0A3-4C9E-8D76-BC231976DDDC}"/>
              </a:ext>
            </a:extLst>
          </p:cNvPr>
          <p:cNvGrpSpPr/>
          <p:nvPr/>
        </p:nvGrpSpPr>
        <p:grpSpPr>
          <a:xfrm>
            <a:off x="479376" y="908720"/>
            <a:ext cx="6759312" cy="338554"/>
            <a:chOff x="479376" y="-963488"/>
            <a:chExt cx="6759312" cy="338554"/>
          </a:xfrm>
        </p:grpSpPr>
        <p:sp>
          <p:nvSpPr>
            <p:cNvPr id="9" name="사각형: 둥근 모서리 8">
              <a:extLst>
                <a:ext uri="{FF2B5EF4-FFF2-40B4-BE49-F238E27FC236}">
                  <a16:creationId xmlns:a16="http://schemas.microsoft.com/office/drawing/2014/main" id="{F66EE92C-BEAA-4A28-9FFE-528E99678B1D}"/>
                </a:ext>
              </a:extLst>
            </p:cNvPr>
            <p:cNvSpPr/>
            <p:nvPr/>
          </p:nvSpPr>
          <p:spPr>
            <a:xfrm>
              <a:off x="479376" y="-946863"/>
              <a:ext cx="590358" cy="305304"/>
            </a:xfrm>
            <a:prstGeom prst="roundRect">
              <a:avLst>
                <a:gd name="adj" fmla="val 50000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>
                      <a:alpha val="50000"/>
                    </a:schemeClr>
                  </a:solidFill>
                  <a:latin typeface="+mn-ea"/>
                  <a:cs typeface="Arial" panose="020B0604020202020204" pitchFamily="34" charset="0"/>
                </a:rPr>
                <a:t>0</a:t>
              </a:r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C8869CF-0725-41FD-AE4C-2AF26212AA85}"/>
                </a:ext>
              </a:extLst>
            </p:cNvPr>
            <p:cNvSpPr txBox="1"/>
            <p:nvPr/>
          </p:nvSpPr>
          <p:spPr>
            <a:xfrm>
              <a:off x="1127448" y="-963488"/>
              <a:ext cx="6111240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R="0" indent="0" algn="just" fontAlgn="base" latinLnBrk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 sz="1600" kern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defRPr>
              </a:lvl1pPr>
            </a:lstStyle>
            <a:p>
              <a:r>
                <a:rPr lang="ko-KR" altLang="en-US"/>
                <a:t>마이페이지 </a:t>
              </a:r>
              <a:r>
                <a:rPr lang="en-US" altLang="ko-KR"/>
                <a:t>- </a:t>
              </a:r>
              <a:r>
                <a:rPr lang="ko-KR" altLang="en-US"/>
                <a:t>환경설정</a:t>
              </a:r>
              <a:endParaRPr lang="en-US" altLang="ko-KR" dirty="0"/>
            </a:p>
          </p:txBody>
        </p:sp>
      </p:grpSp>
      <p:sp>
        <p:nvSpPr>
          <p:cNvPr id="74" name="모서리가 둥근 직사각형 84">
            <a:extLst>
              <a:ext uri="{FF2B5EF4-FFF2-40B4-BE49-F238E27FC236}">
                <a16:creationId xmlns:a16="http://schemas.microsoft.com/office/drawing/2014/main" id="{57114DAC-3A16-485F-8C1D-77A940AFA080}"/>
              </a:ext>
            </a:extLst>
          </p:cNvPr>
          <p:cNvSpPr/>
          <p:nvPr/>
        </p:nvSpPr>
        <p:spPr>
          <a:xfrm>
            <a:off x="412559" y="2708920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1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grpSp>
        <p:nvGrpSpPr>
          <p:cNvPr id="75" name="그룹 74">
            <a:extLst>
              <a:ext uri="{FF2B5EF4-FFF2-40B4-BE49-F238E27FC236}">
                <a16:creationId xmlns:a16="http://schemas.microsoft.com/office/drawing/2014/main" id="{6AFC4124-7011-48D8-A6DA-D8914F391291}"/>
              </a:ext>
            </a:extLst>
          </p:cNvPr>
          <p:cNvGrpSpPr/>
          <p:nvPr/>
        </p:nvGrpSpPr>
        <p:grpSpPr>
          <a:xfrm>
            <a:off x="9284100" y="1253978"/>
            <a:ext cx="1202160" cy="230832"/>
            <a:chOff x="7316687" y="3282664"/>
            <a:chExt cx="1202160" cy="230832"/>
          </a:xfrm>
        </p:grpSpPr>
        <p:sp>
          <p:nvSpPr>
            <p:cNvPr id="76" name="TextBox 174">
              <a:extLst>
                <a:ext uri="{FF2B5EF4-FFF2-40B4-BE49-F238E27FC236}">
                  <a16:creationId xmlns:a16="http://schemas.microsoft.com/office/drawing/2014/main" id="{D137A036-46BF-4882-B2D7-0C82E84D1C8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102784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푸시 알림 허용</a:t>
              </a:r>
              <a:r>
                <a:rPr lang="en-US" altLang="ko-KR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/</a:t>
              </a: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차단</a:t>
              </a:r>
            </a:p>
          </p:txBody>
        </p:sp>
        <p:sp>
          <p:nvSpPr>
            <p:cNvPr id="77" name="모서리가 둥근 직사각형 84">
              <a:extLst>
                <a:ext uri="{FF2B5EF4-FFF2-40B4-BE49-F238E27FC236}">
                  <a16:creationId xmlns:a16="http://schemas.microsoft.com/office/drawing/2014/main" id="{65DE61D6-89C1-41C7-BAEC-C24084D87234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1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78" name="TextBox 174">
            <a:extLst>
              <a:ext uri="{FF2B5EF4-FFF2-40B4-BE49-F238E27FC236}">
                <a16:creationId xmlns:a16="http://schemas.microsoft.com/office/drawing/2014/main" id="{F9916E6F-11C9-4D8D-87FC-95633A279AA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44873" y="1549241"/>
            <a:ext cx="2573667" cy="11156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  <a:buClr>
                <a:srgbClr val="D0A660"/>
              </a:buClr>
              <a:buSzPct val="100000"/>
              <a:defRPr/>
            </a:pPr>
            <a:r>
              <a:rPr lang="en-US" altLang="ko-KR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[</a:t>
            </a:r>
            <a:r>
              <a: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푸시 알림 목록</a:t>
            </a:r>
            <a:r>
              <a:rPr lang="en-US" altLang="ko-KR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]</a:t>
            </a: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일상편의 알림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방문점검 알림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맞춤예약 알림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배달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/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회수 알림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서비스 만족도 조사 알림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395786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C5286BA-92CE-41FB-BB05-BE0F5BBA1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마이페이지</a:t>
            </a:r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B73B35C2-EB8A-4573-B037-7CC6DF06F86A}"/>
              </a:ext>
            </a:extLst>
          </p:cNvPr>
          <p:cNvGrpSpPr/>
          <p:nvPr/>
        </p:nvGrpSpPr>
        <p:grpSpPr>
          <a:xfrm>
            <a:off x="0" y="-3562"/>
            <a:ext cx="9226508" cy="6816938"/>
            <a:chOff x="-1952021" y="-3562"/>
            <a:chExt cx="9226508" cy="6816938"/>
          </a:xfrm>
        </p:grpSpPr>
        <p:cxnSp>
          <p:nvCxnSpPr>
            <p:cNvPr id="6" name="직선 연결선 5">
              <a:extLst>
                <a:ext uri="{FF2B5EF4-FFF2-40B4-BE49-F238E27FC236}">
                  <a16:creationId xmlns:a16="http://schemas.microsoft.com/office/drawing/2014/main" id="{B4C45666-B8F5-4C50-86A6-C4C0BE1D6FE0}"/>
                </a:ext>
              </a:extLst>
            </p:cNvPr>
            <p:cNvCxnSpPr>
              <a:cxnSpLocks/>
            </p:cNvCxnSpPr>
            <p:nvPr/>
          </p:nvCxnSpPr>
          <p:spPr>
            <a:xfrm>
              <a:off x="7257256" y="-3562"/>
              <a:ext cx="0" cy="6816938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직선 연결선 6">
              <a:extLst>
                <a:ext uri="{FF2B5EF4-FFF2-40B4-BE49-F238E27FC236}">
                  <a16:creationId xmlns:a16="http://schemas.microsoft.com/office/drawing/2014/main" id="{4860EB04-C536-404F-98C0-823E8ADC86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1952021" y="1563825"/>
              <a:ext cx="9226508" cy="0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0B76F625-D0A3-4C9E-8D76-BC231976DDDC}"/>
              </a:ext>
            </a:extLst>
          </p:cNvPr>
          <p:cNvGrpSpPr/>
          <p:nvPr/>
        </p:nvGrpSpPr>
        <p:grpSpPr>
          <a:xfrm>
            <a:off x="479376" y="908720"/>
            <a:ext cx="6759312" cy="338554"/>
            <a:chOff x="479376" y="-963488"/>
            <a:chExt cx="6759312" cy="338554"/>
          </a:xfrm>
        </p:grpSpPr>
        <p:sp>
          <p:nvSpPr>
            <p:cNvPr id="9" name="사각형: 둥근 모서리 8">
              <a:extLst>
                <a:ext uri="{FF2B5EF4-FFF2-40B4-BE49-F238E27FC236}">
                  <a16:creationId xmlns:a16="http://schemas.microsoft.com/office/drawing/2014/main" id="{F66EE92C-BEAA-4A28-9FFE-528E99678B1D}"/>
                </a:ext>
              </a:extLst>
            </p:cNvPr>
            <p:cNvSpPr/>
            <p:nvPr/>
          </p:nvSpPr>
          <p:spPr>
            <a:xfrm>
              <a:off x="479376" y="-946863"/>
              <a:ext cx="590358" cy="305304"/>
            </a:xfrm>
            <a:prstGeom prst="roundRect">
              <a:avLst>
                <a:gd name="adj" fmla="val 50000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>
                      <a:alpha val="50000"/>
                    </a:schemeClr>
                  </a:solidFill>
                  <a:latin typeface="+mn-ea"/>
                  <a:cs typeface="Arial" panose="020B0604020202020204" pitchFamily="34" charset="0"/>
                </a:rPr>
                <a:t>0</a:t>
              </a:r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C8869CF-0725-41FD-AE4C-2AF26212AA85}"/>
                </a:ext>
              </a:extLst>
            </p:cNvPr>
            <p:cNvSpPr txBox="1"/>
            <p:nvPr/>
          </p:nvSpPr>
          <p:spPr>
            <a:xfrm>
              <a:off x="1127448" y="-963488"/>
              <a:ext cx="6111240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R="0" indent="0" algn="just" fontAlgn="base" latinLnBrk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 sz="1600" kern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defRPr>
              </a:lvl1pPr>
            </a:lstStyle>
            <a:p>
              <a:r>
                <a:rPr lang="ko-KR" altLang="en-US"/>
                <a:t>마이페이지 </a:t>
              </a:r>
              <a:r>
                <a:rPr lang="en-US" altLang="ko-KR"/>
                <a:t>- </a:t>
              </a:r>
              <a:r>
                <a:rPr kumimoji="0" lang="ko-KR" altLang="en-US" sz="1600" b="0" i="0" u="none" strike="noStrike" kern="1200" cap="none" spc="0" normalizeH="0" baseline="0" noProof="0">
                  <a:ln>
                    <a:solidFill>
                      <a:srgbClr val="F36622">
                        <a:shade val="50000"/>
                        <a:alpha val="0"/>
                      </a:srgbClr>
                    </a:solidFill>
                  </a:ln>
                  <a:solidFill>
                    <a:srgbClr val="000000">
                      <a:lumMod val="85000"/>
                      <a:lumOff val="15000"/>
                    </a:srgbClr>
                  </a:solidFill>
                  <a:effectLst/>
                  <a:uLnTx/>
                  <a:uFillTx/>
                  <a:latin typeface="나눔바른고딕" panose="020B0603020101020101" pitchFamily="50" charset="-127"/>
                  <a:ea typeface="나눔바른고딕" panose="020B0603020101020101" pitchFamily="50" charset="-127"/>
                  <a:cs typeface="+mn-cs"/>
                </a:rPr>
                <a:t>병원설정</a:t>
              </a:r>
              <a:endParaRPr lang="en-US" altLang="ko-KR" dirty="0"/>
            </a:p>
          </p:txBody>
        </p:sp>
      </p:grpSp>
      <p:pic>
        <p:nvPicPr>
          <p:cNvPr id="4" name="그림 3" descr="텍스트, 스크린샷, 폰트이(가) 표시된 사진&#10;&#10;자동 생성된 설명">
            <a:extLst>
              <a:ext uri="{FF2B5EF4-FFF2-40B4-BE49-F238E27FC236}">
                <a16:creationId xmlns:a16="http://schemas.microsoft.com/office/drawing/2014/main" id="{55C19FA6-1F04-BA34-D7B9-20FC13E3390B}"/>
              </a:ext>
            </a:extLst>
          </p:cNvPr>
          <p:cNvPicPr>
            <a:picLocks/>
          </p:cNvPicPr>
          <p:nvPr/>
        </p:nvPicPr>
        <p:blipFill rotWithShape="1">
          <a:blip r:embed="rId3"/>
          <a:srcRect b="6154"/>
          <a:stretch/>
        </p:blipFill>
        <p:spPr>
          <a:xfrm>
            <a:off x="597600" y="2062800"/>
            <a:ext cx="2052000" cy="4031999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grpSp>
        <p:nvGrpSpPr>
          <p:cNvPr id="19" name="그룹 18">
            <a:extLst>
              <a:ext uri="{FF2B5EF4-FFF2-40B4-BE49-F238E27FC236}">
                <a16:creationId xmlns:a16="http://schemas.microsoft.com/office/drawing/2014/main" id="{191BB312-12CB-2099-9E1F-0B7732952FDB}"/>
              </a:ext>
            </a:extLst>
          </p:cNvPr>
          <p:cNvGrpSpPr/>
          <p:nvPr/>
        </p:nvGrpSpPr>
        <p:grpSpPr>
          <a:xfrm>
            <a:off x="9291190" y="1268760"/>
            <a:ext cx="977740" cy="230832"/>
            <a:chOff x="7316687" y="3282664"/>
            <a:chExt cx="977740" cy="230832"/>
          </a:xfrm>
        </p:grpSpPr>
        <p:sp>
          <p:nvSpPr>
            <p:cNvPr id="20" name="TextBox 174">
              <a:extLst>
                <a:ext uri="{FF2B5EF4-FFF2-40B4-BE49-F238E27FC236}">
                  <a16:creationId xmlns:a16="http://schemas.microsoft.com/office/drawing/2014/main" id="{25C4276A-2907-567E-1E15-BDDC0121187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80342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병원 목록 선정</a:t>
              </a:r>
              <a:endPara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  <p:sp>
          <p:nvSpPr>
            <p:cNvPr id="21" name="모서리가 둥근 직사각형 84">
              <a:extLst>
                <a:ext uri="{FF2B5EF4-FFF2-40B4-BE49-F238E27FC236}">
                  <a16:creationId xmlns:a16="http://schemas.microsoft.com/office/drawing/2014/main" id="{CAFB0E54-F649-1869-A37F-B970101A459D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1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2" name="그룹 21">
            <a:extLst>
              <a:ext uri="{FF2B5EF4-FFF2-40B4-BE49-F238E27FC236}">
                <a16:creationId xmlns:a16="http://schemas.microsoft.com/office/drawing/2014/main" id="{2065A738-9E70-DBDB-3D49-6FEC8578559A}"/>
              </a:ext>
            </a:extLst>
          </p:cNvPr>
          <p:cNvGrpSpPr/>
          <p:nvPr/>
        </p:nvGrpSpPr>
        <p:grpSpPr>
          <a:xfrm>
            <a:off x="9285921" y="2852936"/>
            <a:ext cx="956902" cy="230832"/>
            <a:chOff x="7316687" y="3282664"/>
            <a:chExt cx="956902" cy="230832"/>
          </a:xfrm>
        </p:grpSpPr>
        <p:sp>
          <p:nvSpPr>
            <p:cNvPr id="23" name="TextBox 174">
              <a:extLst>
                <a:ext uri="{FF2B5EF4-FFF2-40B4-BE49-F238E27FC236}">
                  <a16:creationId xmlns:a16="http://schemas.microsoft.com/office/drawing/2014/main" id="{18C54885-05FE-D441-9E2A-857632671A0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782587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선택하기 버튼</a:t>
              </a:r>
            </a:p>
          </p:txBody>
        </p:sp>
        <p:sp>
          <p:nvSpPr>
            <p:cNvPr id="24" name="모서리가 둥근 직사각형 84">
              <a:extLst>
                <a:ext uri="{FF2B5EF4-FFF2-40B4-BE49-F238E27FC236}">
                  <a16:creationId xmlns:a16="http://schemas.microsoft.com/office/drawing/2014/main" id="{3F61E43E-BE24-CC8B-F112-9536FBA6F7A1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2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5" name="TextBox 174">
            <a:extLst>
              <a:ext uri="{FF2B5EF4-FFF2-40B4-BE49-F238E27FC236}">
                <a16:creationId xmlns:a16="http://schemas.microsoft.com/office/drawing/2014/main" id="{31005060-0F93-BFFC-EC7A-26B3E5FDBE7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39685" y="1526737"/>
            <a:ext cx="2573667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처방전 조회 시 요청하기 위한 병원 목록 선정 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(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복수 선택 가능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)</a:t>
            </a: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[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병원 목록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]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>
              <a:spcBef>
                <a:spcPts val="300"/>
              </a:spcBef>
              <a:buClr>
                <a:srgbClr val="D0A660"/>
              </a:buClr>
              <a:buSzPct val="100000"/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B: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인천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G: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안산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E: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창원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F: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순천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M: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대전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</a:t>
            </a:r>
          </a:p>
          <a:p>
            <a:pPr>
              <a:spcBef>
                <a:spcPts val="300"/>
              </a:spcBef>
              <a:buClr>
                <a:srgbClr val="D0A660"/>
              </a:buClr>
              <a:buSzPct val="100000"/>
              <a:defRPr/>
            </a:pP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D: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태백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C: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동해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H: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정선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Q: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대구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J: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경기요양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</a:t>
            </a:r>
          </a:p>
          <a:p>
            <a:pPr>
              <a:spcBef>
                <a:spcPts val="300"/>
              </a:spcBef>
              <a:buClr>
                <a:srgbClr val="D0A660"/>
              </a:buClr>
              <a:buSzPct val="100000"/>
              <a:defRPr/>
            </a:pP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1: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서울의원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2: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광주의원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3: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부산의원</a:t>
            </a:r>
          </a:p>
        </p:txBody>
      </p:sp>
      <p:sp>
        <p:nvSpPr>
          <p:cNvPr id="26" name="TextBox 174">
            <a:extLst>
              <a:ext uri="{FF2B5EF4-FFF2-40B4-BE49-F238E27FC236}">
                <a16:creationId xmlns:a16="http://schemas.microsoft.com/office/drawing/2014/main" id="{00F0F240-3C1C-111D-C283-9D2A1DCBA34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39684" y="3139687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클릭 시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선택된 병원의 처방전 조회 요청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</p:txBody>
      </p:sp>
      <p:sp>
        <p:nvSpPr>
          <p:cNvPr id="27" name="모서리가 둥근 직사각형 84">
            <a:extLst>
              <a:ext uri="{FF2B5EF4-FFF2-40B4-BE49-F238E27FC236}">
                <a16:creationId xmlns:a16="http://schemas.microsoft.com/office/drawing/2014/main" id="{890135C5-48CB-A719-0521-EB19D3320562}"/>
              </a:ext>
            </a:extLst>
          </p:cNvPr>
          <p:cNvSpPr/>
          <p:nvPr/>
        </p:nvSpPr>
        <p:spPr>
          <a:xfrm>
            <a:off x="489877" y="2723442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1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28" name="모서리가 둥근 직사각형 84">
            <a:extLst>
              <a:ext uri="{FF2B5EF4-FFF2-40B4-BE49-F238E27FC236}">
                <a16:creationId xmlns:a16="http://schemas.microsoft.com/office/drawing/2014/main" id="{8BA27286-771E-396A-6768-2302E11E189D}"/>
              </a:ext>
            </a:extLst>
          </p:cNvPr>
          <p:cNvSpPr/>
          <p:nvPr/>
        </p:nvSpPr>
        <p:spPr>
          <a:xfrm>
            <a:off x="505079" y="5589240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2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3382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Group 32">
            <a:extLst>
              <a:ext uri="{FF2B5EF4-FFF2-40B4-BE49-F238E27FC236}">
                <a16:creationId xmlns:a16="http://schemas.microsoft.com/office/drawing/2014/main" id="{D8AD8642-9683-4BF0-BB85-AB9D0CDA3894}"/>
              </a:ext>
            </a:extLst>
          </p:cNvPr>
          <p:cNvGraphicFramePr>
            <a:graphicFrameLocks noGrp="1"/>
          </p:cNvGraphicFramePr>
          <p:nvPr/>
        </p:nvGraphicFramePr>
        <p:xfrm>
          <a:off x="821131" y="1684826"/>
          <a:ext cx="10451706" cy="4296872"/>
        </p:xfrm>
        <a:graphic>
          <a:graphicData uri="http://schemas.openxmlformats.org/drawingml/2006/table">
            <a:tbl>
              <a:tblPr/>
              <a:tblGrid>
                <a:gridCol w="20332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33270">
                  <a:extLst>
                    <a:ext uri="{9D8B030D-6E8A-4147-A177-3AD203B41FA5}">
                      <a16:colId xmlns:a16="http://schemas.microsoft.com/office/drawing/2014/main" val="3608158525"/>
                    </a:ext>
                  </a:extLst>
                </a:gridCol>
                <a:gridCol w="638516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96336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66FF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ko-KR" altLang="en-US" sz="1200" b="1" kern="1200" spc="0" baseline="0" dirty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Arial" pitchFamily="34" charset="0"/>
                        </a:rPr>
                        <a:t>버전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497B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66FF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ko-KR" altLang="en-US" sz="1200" b="1" kern="1200" spc="0" baseline="0" dirty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Arial" pitchFamily="34" charset="0"/>
                        </a:rPr>
                        <a:t>변경일자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497B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66FF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ko-KR" altLang="en-US" sz="1200" b="1" kern="1200" spc="0" baseline="0" dirty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Arial" pitchFamily="34" charset="0"/>
                        </a:rPr>
                        <a:t>제</a:t>
                      </a:r>
                      <a:r>
                        <a:rPr lang="en-US" altLang="ko-KR" sz="1200" b="1" kern="1200" spc="0" baseline="0" dirty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Arial" pitchFamily="34" charset="0"/>
                        </a:rPr>
                        <a:t>·</a:t>
                      </a:r>
                      <a:r>
                        <a:rPr lang="ko-KR" altLang="en-US" sz="1200" b="1" kern="1200" spc="0" baseline="0" dirty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Arial" pitchFamily="34" charset="0"/>
                        </a:rPr>
                        <a:t>개정 내역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4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450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kern="1200" cap="none" spc="0" normalizeH="0" baseline="0" dirty="0">
                          <a:ln>
                            <a:solidFill>
                              <a:srgbClr val="5B9BD5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Arial" pitchFamily="34" charset="0"/>
                        </a:rPr>
                        <a:t>1.0</a:t>
                      </a: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kern="1200" cap="none" spc="0" normalizeH="0" baseline="0">
                          <a:ln>
                            <a:solidFill>
                              <a:srgbClr val="5B9BD5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Arial" pitchFamily="34" charset="0"/>
                        </a:rPr>
                        <a:t>2023-06</a:t>
                      </a:r>
                      <a:endParaRPr kumimoji="0" lang="en-US" sz="1200" b="0" i="0" u="none" strike="noStrike" kern="1200" cap="none" spc="0" normalizeH="0" baseline="0" dirty="0">
                        <a:ln>
                          <a:solidFill>
                            <a:srgbClr val="5B9BD5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Arial" pitchFamily="34" charset="0"/>
                      </a:endParaRPr>
                    </a:p>
                  </a:txBody>
                  <a:tcPr marL="68580" marR="68580" anchor="ctr">
                    <a:lnL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-8890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>
                          <a:tab pos="88900" algn="l"/>
                        </a:tabLst>
                      </a:pPr>
                      <a:r>
                        <a:rPr lang="ko-KR" altLang="en-US" sz="1200" kern="1200" spc="0" baseline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Arial" pitchFamily="34" charset="0"/>
                        </a:rPr>
                        <a:t>최초작성</a:t>
                      </a:r>
                      <a:endParaRPr lang="ko-KR" altLang="en-US" sz="1200" kern="1200" spc="0" baseline="0" dirty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Arial" pitchFamily="34" charset="0"/>
                      </a:endParaRPr>
                    </a:p>
                  </a:txBody>
                  <a:tcPr marL="68580" marR="68580" anchor="ctr">
                    <a:lnL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0143130"/>
                  </a:ext>
                </a:extLst>
              </a:tr>
              <a:tr h="44450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kern="1200" cap="none" spc="0" normalizeH="0" baseline="0" dirty="0">
                        <a:ln>
                          <a:solidFill>
                            <a:srgbClr val="5B9BD5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Arial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kern="1200" cap="none" spc="0" normalizeH="0" baseline="0" dirty="0">
                        <a:ln>
                          <a:solidFill>
                            <a:srgbClr val="5B9BD5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Arial" pitchFamily="34" charset="0"/>
                      </a:endParaRPr>
                    </a:p>
                  </a:txBody>
                  <a:tcPr marL="68580" marR="68580" anchor="ctr">
                    <a:lnL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-8890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>
                          <a:tab pos="88900" algn="l"/>
                        </a:tabLst>
                      </a:pPr>
                      <a:endParaRPr lang="ko-KR" altLang="en-US" sz="1200" kern="1200" spc="0" baseline="0" dirty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Arial" pitchFamily="34" charset="0"/>
                      </a:endParaRPr>
                    </a:p>
                  </a:txBody>
                  <a:tcPr marL="68580" marR="68580" anchor="ctr">
                    <a:lnL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9358418"/>
                  </a:ext>
                </a:extLst>
              </a:tr>
              <a:tr h="44450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kern="1200" cap="none" spc="0" normalizeH="0" baseline="0" dirty="0">
                        <a:ln>
                          <a:solidFill>
                            <a:srgbClr val="5B9BD5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Arial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kern="1200" cap="none" spc="0" normalizeH="0" baseline="0" dirty="0">
                        <a:ln>
                          <a:solidFill>
                            <a:srgbClr val="5B9BD5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Arial" pitchFamily="34" charset="0"/>
                      </a:endParaRPr>
                    </a:p>
                  </a:txBody>
                  <a:tcPr marL="68580" marR="68580" anchor="ctr">
                    <a:lnL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-8890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>
                          <a:tab pos="88900" algn="l"/>
                        </a:tabLst>
                      </a:pPr>
                      <a:endParaRPr lang="ko-KR" altLang="en-US" sz="1200" kern="1200" spc="0" baseline="0" dirty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Arial" pitchFamily="34" charset="0"/>
                      </a:endParaRPr>
                    </a:p>
                  </a:txBody>
                  <a:tcPr marL="68580" marR="68580" anchor="ctr">
                    <a:lnL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43224"/>
                  </a:ext>
                </a:extLst>
              </a:tr>
              <a:tr h="44450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kern="1200" cap="none" spc="0" normalizeH="0" baseline="0" dirty="0">
                        <a:ln>
                          <a:solidFill>
                            <a:srgbClr val="5B9BD5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Arial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kern="1200" cap="none" spc="0" normalizeH="0" baseline="0" dirty="0">
                        <a:ln>
                          <a:solidFill>
                            <a:srgbClr val="5B9BD5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Arial" pitchFamily="34" charset="0"/>
                      </a:endParaRPr>
                    </a:p>
                  </a:txBody>
                  <a:tcPr marL="68580" marR="68580" anchor="ctr">
                    <a:lnL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-8890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>
                          <a:tab pos="88900" algn="l"/>
                        </a:tabLst>
                      </a:pPr>
                      <a:endParaRPr lang="ko-KR" altLang="en-US" sz="1200" kern="1200" spc="0" baseline="0" dirty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Arial" pitchFamily="34" charset="0"/>
                      </a:endParaRPr>
                    </a:p>
                  </a:txBody>
                  <a:tcPr marL="68580" marR="68580" anchor="ctr">
                    <a:lnL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4044598"/>
                  </a:ext>
                </a:extLst>
              </a:tr>
              <a:tr h="44450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kern="1200" cap="none" spc="0" normalizeH="0" baseline="0" dirty="0">
                        <a:ln>
                          <a:solidFill>
                            <a:srgbClr val="5B9BD5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Arial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kern="1200" cap="none" spc="0" normalizeH="0" baseline="0" dirty="0">
                        <a:ln>
                          <a:solidFill>
                            <a:srgbClr val="5B9BD5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Arial" pitchFamily="34" charset="0"/>
                      </a:endParaRPr>
                    </a:p>
                  </a:txBody>
                  <a:tcPr marL="68580" marR="68580" anchor="ctr">
                    <a:lnL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-8890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>
                          <a:tab pos="88900" algn="l"/>
                        </a:tabLst>
                      </a:pPr>
                      <a:endParaRPr lang="ko-KR" altLang="en-US" sz="1200" kern="1200" spc="0" baseline="0" dirty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Arial" pitchFamily="34" charset="0"/>
                      </a:endParaRPr>
                    </a:p>
                  </a:txBody>
                  <a:tcPr marL="68580" marR="68580" anchor="ctr">
                    <a:lnL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7430613"/>
                  </a:ext>
                </a:extLst>
              </a:tr>
              <a:tr h="44450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kern="1200" cap="none" spc="0" normalizeH="0" baseline="0" dirty="0">
                        <a:ln>
                          <a:solidFill>
                            <a:srgbClr val="5B9BD5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Arial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kern="1200" cap="none" spc="0" normalizeH="0" baseline="0" dirty="0">
                        <a:ln>
                          <a:solidFill>
                            <a:srgbClr val="5B9BD5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Arial" pitchFamily="34" charset="0"/>
                      </a:endParaRPr>
                    </a:p>
                  </a:txBody>
                  <a:tcPr marL="68580" marR="68580" anchor="ctr">
                    <a:lnL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-8890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>
                          <a:tab pos="88900" algn="l"/>
                        </a:tabLst>
                      </a:pPr>
                      <a:endParaRPr lang="ko-KR" altLang="en-US" sz="1200" kern="1200" spc="0" baseline="0" dirty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Arial" pitchFamily="34" charset="0"/>
                      </a:endParaRPr>
                    </a:p>
                  </a:txBody>
                  <a:tcPr marL="68580" marR="68580" anchor="ctr">
                    <a:lnL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3932142"/>
                  </a:ext>
                </a:extLst>
              </a:tr>
              <a:tr h="44450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kern="1200" cap="none" spc="0" normalizeH="0" baseline="0" dirty="0">
                        <a:ln>
                          <a:solidFill>
                            <a:srgbClr val="5B9BD5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Arial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kern="1200" cap="none" spc="0" normalizeH="0" baseline="0" dirty="0">
                        <a:ln>
                          <a:solidFill>
                            <a:srgbClr val="5B9BD5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Arial" pitchFamily="34" charset="0"/>
                      </a:endParaRPr>
                    </a:p>
                  </a:txBody>
                  <a:tcPr marL="68580" marR="68580" anchor="ctr">
                    <a:lnL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-8890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>
                          <a:tab pos="88900" algn="l"/>
                        </a:tabLst>
                      </a:pPr>
                      <a:endParaRPr lang="ko-KR" altLang="en-US" sz="1200" kern="1200" spc="0" baseline="0" dirty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Arial" pitchFamily="34" charset="0"/>
                      </a:endParaRPr>
                    </a:p>
                  </a:txBody>
                  <a:tcPr marL="68580" marR="68580" anchor="ctr">
                    <a:lnL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7488562"/>
                  </a:ext>
                </a:extLst>
              </a:tr>
              <a:tr h="44450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kern="1200" cap="none" spc="0" normalizeH="0" baseline="0" dirty="0">
                        <a:ln>
                          <a:solidFill>
                            <a:srgbClr val="5B9BD5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Arial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kern="1200" cap="none" spc="0" normalizeH="0" baseline="0" dirty="0">
                        <a:ln>
                          <a:solidFill>
                            <a:srgbClr val="5B9BD5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Arial" pitchFamily="34" charset="0"/>
                      </a:endParaRPr>
                    </a:p>
                  </a:txBody>
                  <a:tcPr marL="68580" marR="68580" anchor="ctr">
                    <a:lnL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-8890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>
                          <a:tab pos="88900" algn="l"/>
                        </a:tabLst>
                      </a:pPr>
                      <a:endParaRPr lang="ko-KR" altLang="en-US" sz="1200" kern="1200" spc="0" baseline="0" dirty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Arial" pitchFamily="34" charset="0"/>
                      </a:endParaRPr>
                    </a:p>
                  </a:txBody>
                  <a:tcPr marL="68580" marR="68580" anchor="ctr">
                    <a:lnL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9876611"/>
                  </a:ext>
                </a:extLst>
              </a:tr>
              <a:tr h="44450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kern="1200" cap="none" spc="0" normalizeH="0" baseline="0" dirty="0">
                        <a:ln>
                          <a:solidFill>
                            <a:srgbClr val="5B9BD5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Arial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kern="1200" cap="none" spc="0" normalizeH="0" baseline="0" dirty="0">
                        <a:ln>
                          <a:solidFill>
                            <a:srgbClr val="5B9BD5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Arial" pitchFamily="34" charset="0"/>
                      </a:endParaRPr>
                    </a:p>
                  </a:txBody>
                  <a:tcPr marL="68580" marR="68580" anchor="ctr">
                    <a:lnL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-8890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>
                          <a:tab pos="88900" algn="l"/>
                        </a:tabLst>
                      </a:pPr>
                      <a:endParaRPr lang="ko-KR" altLang="en-US" sz="1200" kern="1200" spc="0" baseline="0" dirty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Arial" pitchFamily="34" charset="0"/>
                      </a:endParaRPr>
                    </a:p>
                  </a:txBody>
                  <a:tcPr marL="68580" marR="68580" anchor="ctr">
                    <a:lnL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5789216"/>
                  </a:ext>
                </a:extLst>
              </a:tr>
            </a:tbl>
          </a:graphicData>
        </a:graphic>
      </p:graphicFrame>
      <p:sp>
        <p:nvSpPr>
          <p:cNvPr id="4" name="제목 3">
            <a:extLst>
              <a:ext uri="{FF2B5EF4-FFF2-40B4-BE49-F238E27FC236}">
                <a16:creationId xmlns:a16="http://schemas.microsoft.com/office/drawing/2014/main" id="{F0BBD39E-B335-45AC-8E43-F6A40E4440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문서이력</a:t>
            </a:r>
          </a:p>
        </p:txBody>
      </p:sp>
    </p:spTree>
    <p:extLst>
      <p:ext uri="{BB962C8B-B14F-4D97-AF65-F5344CB8AC3E}">
        <p14:creationId xmlns:p14="http://schemas.microsoft.com/office/powerpoint/2010/main" val="1091895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C5286BA-92CE-41FB-BB05-BE0F5BBA1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마이페이지</a:t>
            </a:r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B73B35C2-EB8A-4573-B037-7CC6DF06F86A}"/>
              </a:ext>
            </a:extLst>
          </p:cNvPr>
          <p:cNvGrpSpPr/>
          <p:nvPr/>
        </p:nvGrpSpPr>
        <p:grpSpPr>
          <a:xfrm>
            <a:off x="0" y="-3562"/>
            <a:ext cx="9226508" cy="6816938"/>
            <a:chOff x="-1952021" y="-3562"/>
            <a:chExt cx="9226508" cy="6816938"/>
          </a:xfrm>
        </p:grpSpPr>
        <p:cxnSp>
          <p:nvCxnSpPr>
            <p:cNvPr id="6" name="직선 연결선 5">
              <a:extLst>
                <a:ext uri="{FF2B5EF4-FFF2-40B4-BE49-F238E27FC236}">
                  <a16:creationId xmlns:a16="http://schemas.microsoft.com/office/drawing/2014/main" id="{B4C45666-B8F5-4C50-86A6-C4C0BE1D6FE0}"/>
                </a:ext>
              </a:extLst>
            </p:cNvPr>
            <p:cNvCxnSpPr>
              <a:cxnSpLocks/>
            </p:cNvCxnSpPr>
            <p:nvPr/>
          </p:nvCxnSpPr>
          <p:spPr>
            <a:xfrm>
              <a:off x="7257256" y="-3562"/>
              <a:ext cx="0" cy="6816938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직선 연결선 6">
              <a:extLst>
                <a:ext uri="{FF2B5EF4-FFF2-40B4-BE49-F238E27FC236}">
                  <a16:creationId xmlns:a16="http://schemas.microsoft.com/office/drawing/2014/main" id="{4860EB04-C536-404F-98C0-823E8ADC86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1952021" y="1563825"/>
              <a:ext cx="9226508" cy="0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0B76F625-D0A3-4C9E-8D76-BC231976DDDC}"/>
              </a:ext>
            </a:extLst>
          </p:cNvPr>
          <p:cNvGrpSpPr/>
          <p:nvPr/>
        </p:nvGrpSpPr>
        <p:grpSpPr>
          <a:xfrm>
            <a:off x="479376" y="908720"/>
            <a:ext cx="6759312" cy="338554"/>
            <a:chOff x="479376" y="-963488"/>
            <a:chExt cx="6759312" cy="338554"/>
          </a:xfrm>
        </p:grpSpPr>
        <p:sp>
          <p:nvSpPr>
            <p:cNvPr id="9" name="사각형: 둥근 모서리 8">
              <a:extLst>
                <a:ext uri="{FF2B5EF4-FFF2-40B4-BE49-F238E27FC236}">
                  <a16:creationId xmlns:a16="http://schemas.microsoft.com/office/drawing/2014/main" id="{F66EE92C-BEAA-4A28-9FFE-528E99678B1D}"/>
                </a:ext>
              </a:extLst>
            </p:cNvPr>
            <p:cNvSpPr/>
            <p:nvPr/>
          </p:nvSpPr>
          <p:spPr>
            <a:xfrm>
              <a:off x="479376" y="-946863"/>
              <a:ext cx="590358" cy="305304"/>
            </a:xfrm>
            <a:prstGeom prst="roundRect">
              <a:avLst>
                <a:gd name="adj" fmla="val 50000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>
                      <a:alpha val="50000"/>
                    </a:schemeClr>
                  </a:solidFill>
                  <a:latin typeface="+mn-ea"/>
                  <a:cs typeface="Arial" panose="020B0604020202020204" pitchFamily="34" charset="0"/>
                </a:rPr>
                <a:t>0</a:t>
              </a:r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C8869CF-0725-41FD-AE4C-2AF26212AA85}"/>
                </a:ext>
              </a:extLst>
            </p:cNvPr>
            <p:cNvSpPr txBox="1"/>
            <p:nvPr/>
          </p:nvSpPr>
          <p:spPr>
            <a:xfrm>
              <a:off x="1127448" y="-963488"/>
              <a:ext cx="6111240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R="0" indent="0" algn="just" fontAlgn="base" latinLnBrk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 sz="1600" kern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defRPr>
              </a:lvl1pPr>
            </a:lstStyle>
            <a:p>
              <a:r>
                <a:rPr lang="ko-KR" altLang="en-US"/>
                <a:t>마이페이지 </a:t>
              </a:r>
              <a:r>
                <a:rPr lang="en-US" altLang="ko-KR"/>
                <a:t>- </a:t>
              </a:r>
              <a:r>
                <a:rPr lang="ko-KR" altLang="en-US"/>
                <a:t>약관및정책조회</a:t>
              </a:r>
              <a:endParaRPr lang="en-US" altLang="ko-KR" dirty="0"/>
            </a:p>
          </p:txBody>
        </p:sp>
      </p:grpSp>
      <p:pic>
        <p:nvPicPr>
          <p:cNvPr id="79" name="그림 78" descr="텍스트, 영수증이(가) 표시된 사진&#10;&#10;자동 생성된 설명">
            <a:extLst>
              <a:ext uri="{FF2B5EF4-FFF2-40B4-BE49-F238E27FC236}">
                <a16:creationId xmlns:a16="http://schemas.microsoft.com/office/drawing/2014/main" id="{BF305704-04E9-4345-9A4F-544C7EB5D574}"/>
              </a:ext>
            </a:extLst>
          </p:cNvPr>
          <p:cNvPicPr>
            <a:picLocks/>
          </p:cNvPicPr>
          <p:nvPr/>
        </p:nvPicPr>
        <p:blipFill rotWithShape="1">
          <a:blip r:embed="rId3"/>
          <a:srcRect b="5849"/>
          <a:stretch/>
        </p:blipFill>
        <p:spPr>
          <a:xfrm>
            <a:off x="597600" y="2062801"/>
            <a:ext cx="2052000" cy="4031999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80" name="그림 79" descr="텍스트, 영수증, 스크린샷이(가) 표시된 사진&#10;&#10;자동 생성된 설명">
            <a:extLst>
              <a:ext uri="{FF2B5EF4-FFF2-40B4-BE49-F238E27FC236}">
                <a16:creationId xmlns:a16="http://schemas.microsoft.com/office/drawing/2014/main" id="{A687195F-8AA1-456B-9703-D9A6A96F9E11}"/>
              </a:ext>
            </a:extLst>
          </p:cNvPr>
          <p:cNvPicPr>
            <a:picLocks/>
          </p:cNvPicPr>
          <p:nvPr/>
        </p:nvPicPr>
        <p:blipFill rotWithShape="1">
          <a:blip r:embed="rId4"/>
          <a:srcRect b="5873"/>
          <a:stretch/>
        </p:blipFill>
        <p:spPr>
          <a:xfrm>
            <a:off x="2880000" y="2062801"/>
            <a:ext cx="2052000" cy="4031999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sp>
        <p:nvSpPr>
          <p:cNvPr id="81" name="모서리가 둥근 직사각형 84">
            <a:extLst>
              <a:ext uri="{FF2B5EF4-FFF2-40B4-BE49-F238E27FC236}">
                <a16:creationId xmlns:a16="http://schemas.microsoft.com/office/drawing/2014/main" id="{6643D243-ECA4-4A9A-A827-1BEC891E193F}"/>
              </a:ext>
            </a:extLst>
          </p:cNvPr>
          <p:cNvSpPr/>
          <p:nvPr/>
        </p:nvSpPr>
        <p:spPr>
          <a:xfrm>
            <a:off x="340213" y="2314764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1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82" name="모서리가 둥근 직사각형 84">
            <a:extLst>
              <a:ext uri="{FF2B5EF4-FFF2-40B4-BE49-F238E27FC236}">
                <a16:creationId xmlns:a16="http://schemas.microsoft.com/office/drawing/2014/main" id="{FF10BDFE-0BD4-4233-998F-B43292300734}"/>
              </a:ext>
            </a:extLst>
          </p:cNvPr>
          <p:cNvSpPr/>
          <p:nvPr/>
        </p:nvSpPr>
        <p:spPr>
          <a:xfrm>
            <a:off x="2606746" y="2305085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2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83" name="모서리가 둥근 직사각형 84">
            <a:extLst>
              <a:ext uri="{FF2B5EF4-FFF2-40B4-BE49-F238E27FC236}">
                <a16:creationId xmlns:a16="http://schemas.microsoft.com/office/drawing/2014/main" id="{DEA86B2B-3D35-4341-8C94-69D1309AD6C4}"/>
              </a:ext>
            </a:extLst>
          </p:cNvPr>
          <p:cNvSpPr/>
          <p:nvPr/>
        </p:nvSpPr>
        <p:spPr>
          <a:xfrm>
            <a:off x="2751735" y="5620223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3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grpSp>
        <p:nvGrpSpPr>
          <p:cNvPr id="84" name="그룹 83">
            <a:extLst>
              <a:ext uri="{FF2B5EF4-FFF2-40B4-BE49-F238E27FC236}">
                <a16:creationId xmlns:a16="http://schemas.microsoft.com/office/drawing/2014/main" id="{48B05440-37A4-4B1B-A063-452E973AACC3}"/>
              </a:ext>
            </a:extLst>
          </p:cNvPr>
          <p:cNvGrpSpPr/>
          <p:nvPr/>
        </p:nvGrpSpPr>
        <p:grpSpPr>
          <a:xfrm>
            <a:off x="9285920" y="1234431"/>
            <a:ext cx="860721" cy="230832"/>
            <a:chOff x="7316687" y="3282664"/>
            <a:chExt cx="860721" cy="230832"/>
          </a:xfrm>
        </p:grpSpPr>
        <p:sp>
          <p:nvSpPr>
            <p:cNvPr id="85" name="TextBox 174">
              <a:extLst>
                <a:ext uri="{FF2B5EF4-FFF2-40B4-BE49-F238E27FC236}">
                  <a16:creationId xmlns:a16="http://schemas.microsoft.com/office/drawing/2014/main" id="{FF107797-1D46-4818-B262-F5BFE23CB0D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686406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서비스 약관</a:t>
              </a:r>
            </a:p>
          </p:txBody>
        </p:sp>
        <p:sp>
          <p:nvSpPr>
            <p:cNvPr id="86" name="모서리가 둥근 직사각형 84">
              <a:extLst>
                <a:ext uri="{FF2B5EF4-FFF2-40B4-BE49-F238E27FC236}">
                  <a16:creationId xmlns:a16="http://schemas.microsoft.com/office/drawing/2014/main" id="{5E9CCC3B-FF6F-4CDE-B135-094A37FE392F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1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87" name="TextBox 174">
            <a:extLst>
              <a:ext uri="{FF2B5EF4-FFF2-40B4-BE49-F238E27FC236}">
                <a16:creationId xmlns:a16="http://schemas.microsoft.com/office/drawing/2014/main" id="{37DBB733-8778-430B-8E88-999021FAEC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63923" y="1523593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서비스 약관 동의 내용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grpSp>
        <p:nvGrpSpPr>
          <p:cNvPr id="88" name="그룹 87">
            <a:extLst>
              <a:ext uri="{FF2B5EF4-FFF2-40B4-BE49-F238E27FC236}">
                <a16:creationId xmlns:a16="http://schemas.microsoft.com/office/drawing/2014/main" id="{53B1897F-B99D-4BBA-931F-B02E88574F6A}"/>
              </a:ext>
            </a:extLst>
          </p:cNvPr>
          <p:cNvGrpSpPr/>
          <p:nvPr/>
        </p:nvGrpSpPr>
        <p:grpSpPr>
          <a:xfrm>
            <a:off x="9285920" y="1890929"/>
            <a:ext cx="1287120" cy="230832"/>
            <a:chOff x="7316687" y="3282664"/>
            <a:chExt cx="1287120" cy="230832"/>
          </a:xfrm>
        </p:grpSpPr>
        <p:sp>
          <p:nvSpPr>
            <p:cNvPr id="89" name="TextBox 174">
              <a:extLst>
                <a:ext uri="{FF2B5EF4-FFF2-40B4-BE49-F238E27FC236}">
                  <a16:creationId xmlns:a16="http://schemas.microsoft.com/office/drawing/2014/main" id="{2583C253-4988-43E8-B8CA-C96CBE928C0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111280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개인정보 수집 및 활용</a:t>
              </a:r>
            </a:p>
          </p:txBody>
        </p:sp>
        <p:sp>
          <p:nvSpPr>
            <p:cNvPr id="90" name="모서리가 둥근 직사각형 84">
              <a:extLst>
                <a:ext uri="{FF2B5EF4-FFF2-40B4-BE49-F238E27FC236}">
                  <a16:creationId xmlns:a16="http://schemas.microsoft.com/office/drawing/2014/main" id="{D713B4F9-7F86-49F6-8C5B-5160E9EDBC0E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2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91" name="TextBox 174">
            <a:extLst>
              <a:ext uri="{FF2B5EF4-FFF2-40B4-BE49-F238E27FC236}">
                <a16:creationId xmlns:a16="http://schemas.microsoft.com/office/drawing/2014/main" id="{B1AF9BC8-E595-4524-9E32-D34769F24AE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63923" y="2180091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개인정보 수집 및 활용 동의 내용 확인 및 수정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</p:txBody>
      </p:sp>
      <p:grpSp>
        <p:nvGrpSpPr>
          <p:cNvPr id="92" name="그룹 91">
            <a:extLst>
              <a:ext uri="{FF2B5EF4-FFF2-40B4-BE49-F238E27FC236}">
                <a16:creationId xmlns:a16="http://schemas.microsoft.com/office/drawing/2014/main" id="{90EFAF67-8773-42ED-8DB3-FAA289860BCF}"/>
              </a:ext>
            </a:extLst>
          </p:cNvPr>
          <p:cNvGrpSpPr/>
          <p:nvPr/>
        </p:nvGrpSpPr>
        <p:grpSpPr>
          <a:xfrm>
            <a:off x="9285920" y="2547427"/>
            <a:ext cx="956902" cy="230832"/>
            <a:chOff x="7316687" y="3282664"/>
            <a:chExt cx="956902" cy="230832"/>
          </a:xfrm>
        </p:grpSpPr>
        <p:sp>
          <p:nvSpPr>
            <p:cNvPr id="93" name="TextBox 174">
              <a:extLst>
                <a:ext uri="{FF2B5EF4-FFF2-40B4-BE49-F238E27FC236}">
                  <a16:creationId xmlns:a16="http://schemas.microsoft.com/office/drawing/2014/main" id="{94CD6A0C-AE96-4C4C-8A4D-ADB37681A73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782587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저장하기 버튼</a:t>
              </a:r>
            </a:p>
          </p:txBody>
        </p:sp>
        <p:sp>
          <p:nvSpPr>
            <p:cNvPr id="94" name="모서리가 둥근 직사각형 84">
              <a:extLst>
                <a:ext uri="{FF2B5EF4-FFF2-40B4-BE49-F238E27FC236}">
                  <a16:creationId xmlns:a16="http://schemas.microsoft.com/office/drawing/2014/main" id="{D12E610E-BC8B-4412-8C20-C5F2C00C42A0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3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95" name="TextBox 174">
            <a:extLst>
              <a:ext uri="{FF2B5EF4-FFF2-40B4-BE49-F238E27FC236}">
                <a16:creationId xmlns:a16="http://schemas.microsoft.com/office/drawing/2014/main" id="{C5D97667-8BA1-4985-8D8E-C5408B58D9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63923" y="2836589"/>
            <a:ext cx="2573667" cy="8233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클릭 시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동의 내용에 대한 전자서명 팝업 표출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서명 완료 후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본인의 전자서명이 포함된 약관 및 정책 동의 서 파일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(PDF)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생성</a:t>
            </a:r>
            <a:b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</a:b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-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근로복지공단에 전송</a:t>
            </a:r>
            <a:b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</a:b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-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</a:t>
            </a:r>
            <a:r>
              <a:rPr lang="ko-KR" altLang="en-US" sz="900" spc="-150" dirty="0" err="1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마이데이터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플랫폼에 업로드 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181206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그림 10" descr="텍스트, 스크린샷, 폰트, 소프트웨어이(가) 표시된 사진&#10;&#10;자동 생성된 설명">
            <a:extLst>
              <a:ext uri="{FF2B5EF4-FFF2-40B4-BE49-F238E27FC236}">
                <a16:creationId xmlns:a16="http://schemas.microsoft.com/office/drawing/2014/main" id="{13E1B3C5-A6F3-7A9F-B7EB-031E123E99BB}"/>
              </a:ext>
            </a:extLst>
          </p:cNvPr>
          <p:cNvPicPr>
            <a:picLocks/>
          </p:cNvPicPr>
          <p:nvPr/>
        </p:nvPicPr>
        <p:blipFill rotWithShape="1">
          <a:blip r:embed="rId3"/>
          <a:srcRect b="5900"/>
          <a:stretch/>
        </p:blipFill>
        <p:spPr>
          <a:xfrm>
            <a:off x="597600" y="2062800"/>
            <a:ext cx="2052000" cy="4031999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18" name="그림 17" descr="텍스트, 폰트, 번호, 스크린샷이(가) 표시된 사진&#10;&#10;자동 생성된 설명">
            <a:extLst>
              <a:ext uri="{FF2B5EF4-FFF2-40B4-BE49-F238E27FC236}">
                <a16:creationId xmlns:a16="http://schemas.microsoft.com/office/drawing/2014/main" id="{4A2DFF8F-4443-A48E-746E-DECC580C2D7D}"/>
              </a:ext>
            </a:extLst>
          </p:cNvPr>
          <p:cNvPicPr>
            <a:picLocks/>
          </p:cNvPicPr>
          <p:nvPr/>
        </p:nvPicPr>
        <p:blipFill rotWithShape="1">
          <a:blip r:embed="rId4"/>
          <a:srcRect b="6260"/>
          <a:stretch/>
        </p:blipFill>
        <p:spPr>
          <a:xfrm>
            <a:off x="2880000" y="2062800"/>
            <a:ext cx="2052000" cy="4031999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sp>
        <p:nvSpPr>
          <p:cNvPr id="2" name="제목 1">
            <a:extLst>
              <a:ext uri="{FF2B5EF4-FFF2-40B4-BE49-F238E27FC236}">
                <a16:creationId xmlns:a16="http://schemas.microsoft.com/office/drawing/2014/main" id="{0C5286BA-92CE-41FB-BB05-BE0F5BBA1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홈</a:t>
            </a:r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B73B35C2-EB8A-4573-B037-7CC6DF06F86A}"/>
              </a:ext>
            </a:extLst>
          </p:cNvPr>
          <p:cNvGrpSpPr/>
          <p:nvPr/>
        </p:nvGrpSpPr>
        <p:grpSpPr>
          <a:xfrm>
            <a:off x="0" y="-3562"/>
            <a:ext cx="9226508" cy="6816938"/>
            <a:chOff x="-1952021" y="-3562"/>
            <a:chExt cx="9226508" cy="6816938"/>
          </a:xfrm>
        </p:grpSpPr>
        <p:cxnSp>
          <p:nvCxnSpPr>
            <p:cNvPr id="6" name="직선 연결선 5">
              <a:extLst>
                <a:ext uri="{FF2B5EF4-FFF2-40B4-BE49-F238E27FC236}">
                  <a16:creationId xmlns:a16="http://schemas.microsoft.com/office/drawing/2014/main" id="{B4C45666-B8F5-4C50-86A6-C4C0BE1D6FE0}"/>
                </a:ext>
              </a:extLst>
            </p:cNvPr>
            <p:cNvCxnSpPr>
              <a:cxnSpLocks/>
            </p:cNvCxnSpPr>
            <p:nvPr/>
          </p:nvCxnSpPr>
          <p:spPr>
            <a:xfrm>
              <a:off x="7257256" y="-3562"/>
              <a:ext cx="0" cy="6816938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직선 연결선 6">
              <a:extLst>
                <a:ext uri="{FF2B5EF4-FFF2-40B4-BE49-F238E27FC236}">
                  <a16:creationId xmlns:a16="http://schemas.microsoft.com/office/drawing/2014/main" id="{4860EB04-C536-404F-98C0-823E8ADC86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1952021" y="1563825"/>
              <a:ext cx="9226508" cy="0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0B76F625-D0A3-4C9E-8D76-BC231976DDDC}"/>
              </a:ext>
            </a:extLst>
          </p:cNvPr>
          <p:cNvGrpSpPr/>
          <p:nvPr/>
        </p:nvGrpSpPr>
        <p:grpSpPr>
          <a:xfrm>
            <a:off x="479376" y="908720"/>
            <a:ext cx="6759312" cy="338554"/>
            <a:chOff x="479376" y="-963488"/>
            <a:chExt cx="6759312" cy="338554"/>
          </a:xfrm>
        </p:grpSpPr>
        <p:sp>
          <p:nvSpPr>
            <p:cNvPr id="9" name="사각형: 둥근 모서리 8">
              <a:extLst>
                <a:ext uri="{FF2B5EF4-FFF2-40B4-BE49-F238E27FC236}">
                  <a16:creationId xmlns:a16="http://schemas.microsoft.com/office/drawing/2014/main" id="{F66EE92C-BEAA-4A28-9FFE-528E99678B1D}"/>
                </a:ext>
              </a:extLst>
            </p:cNvPr>
            <p:cNvSpPr/>
            <p:nvPr/>
          </p:nvSpPr>
          <p:spPr>
            <a:xfrm>
              <a:off x="479376" y="-946863"/>
              <a:ext cx="590358" cy="305304"/>
            </a:xfrm>
            <a:prstGeom prst="roundRect">
              <a:avLst>
                <a:gd name="adj" fmla="val 50000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>
                      <a:alpha val="50000"/>
                    </a:schemeClr>
                  </a:solidFill>
                  <a:latin typeface="+mn-ea"/>
                  <a:cs typeface="Arial" panose="020B0604020202020204" pitchFamily="34" charset="0"/>
                </a:rPr>
                <a:t>0</a:t>
              </a:r>
              <a:r>
                <a:rPr lang="en-US" altLang="ko-KR" sz="1400" b="1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  <a:cs typeface="Arial" panose="020B0604020202020204" pitchFamily="34" charset="0"/>
                </a:rPr>
                <a:t>1</a:t>
              </a:r>
              <a:endParaRPr lang="en-US" altLang="ko-KR" sz="1400" b="1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cs typeface="Arial" panose="020B0604020202020204" pitchFamily="34" charset="0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C8869CF-0725-41FD-AE4C-2AF26212AA85}"/>
                </a:ext>
              </a:extLst>
            </p:cNvPr>
            <p:cNvSpPr txBox="1"/>
            <p:nvPr/>
          </p:nvSpPr>
          <p:spPr>
            <a:xfrm>
              <a:off x="1127448" y="-963488"/>
              <a:ext cx="6111240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R="0" indent="0" algn="just" fontAlgn="base" latinLnBrk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 sz="1600" kern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defRPr>
              </a:lvl1pPr>
            </a:lstStyle>
            <a:p>
              <a:r>
                <a:rPr lang="ko-KR" altLang="en-US"/>
                <a:t>홈</a:t>
              </a:r>
              <a:endParaRPr lang="en-US" altLang="ko-KR" dirty="0"/>
            </a:p>
          </p:txBody>
        </p:sp>
      </p:grpSp>
      <p:sp>
        <p:nvSpPr>
          <p:cNvPr id="12" name="모서리가 둥근 직사각형 84">
            <a:extLst>
              <a:ext uri="{FF2B5EF4-FFF2-40B4-BE49-F238E27FC236}">
                <a16:creationId xmlns:a16="http://schemas.microsoft.com/office/drawing/2014/main" id="{1D183EC3-1CFE-4BE8-AA77-CE08B9889C31}"/>
              </a:ext>
            </a:extLst>
          </p:cNvPr>
          <p:cNvSpPr/>
          <p:nvPr/>
        </p:nvSpPr>
        <p:spPr>
          <a:xfrm>
            <a:off x="505079" y="2755860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1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13" name="모서리가 둥근 직사각형 84">
            <a:extLst>
              <a:ext uri="{FF2B5EF4-FFF2-40B4-BE49-F238E27FC236}">
                <a16:creationId xmlns:a16="http://schemas.microsoft.com/office/drawing/2014/main" id="{74A7D547-7D09-4423-BD91-98C2FE09FD76}"/>
              </a:ext>
            </a:extLst>
          </p:cNvPr>
          <p:cNvSpPr/>
          <p:nvPr/>
        </p:nvSpPr>
        <p:spPr>
          <a:xfrm>
            <a:off x="467060" y="3900497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2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14" name="모서리가 둥근 직사각형 84">
            <a:extLst>
              <a:ext uri="{FF2B5EF4-FFF2-40B4-BE49-F238E27FC236}">
                <a16:creationId xmlns:a16="http://schemas.microsoft.com/office/drawing/2014/main" id="{15168CAE-4748-46F7-A7B5-96677273B9CF}"/>
              </a:ext>
            </a:extLst>
          </p:cNvPr>
          <p:cNvSpPr/>
          <p:nvPr/>
        </p:nvSpPr>
        <p:spPr>
          <a:xfrm>
            <a:off x="474037" y="5046374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3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16" name="모서리가 둥근 직사각형 84">
            <a:extLst>
              <a:ext uri="{FF2B5EF4-FFF2-40B4-BE49-F238E27FC236}">
                <a16:creationId xmlns:a16="http://schemas.microsoft.com/office/drawing/2014/main" id="{CDB5EA71-9EBD-4A62-BB38-AF0F4A6DC94A}"/>
              </a:ext>
            </a:extLst>
          </p:cNvPr>
          <p:cNvSpPr/>
          <p:nvPr/>
        </p:nvSpPr>
        <p:spPr>
          <a:xfrm>
            <a:off x="4426270" y="2366756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4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grpSp>
        <p:nvGrpSpPr>
          <p:cNvPr id="43" name="그룹 42">
            <a:extLst>
              <a:ext uri="{FF2B5EF4-FFF2-40B4-BE49-F238E27FC236}">
                <a16:creationId xmlns:a16="http://schemas.microsoft.com/office/drawing/2014/main" id="{34FF4AC5-0377-494B-8720-153568870551}"/>
              </a:ext>
            </a:extLst>
          </p:cNvPr>
          <p:cNvGrpSpPr/>
          <p:nvPr/>
        </p:nvGrpSpPr>
        <p:grpSpPr>
          <a:xfrm>
            <a:off x="6647763" y="1880377"/>
            <a:ext cx="638595" cy="230832"/>
            <a:chOff x="7316687" y="3282664"/>
            <a:chExt cx="638595" cy="230832"/>
          </a:xfrm>
        </p:grpSpPr>
        <p:sp>
          <p:nvSpPr>
            <p:cNvPr id="44" name="TextBox 174">
              <a:extLst>
                <a:ext uri="{FF2B5EF4-FFF2-40B4-BE49-F238E27FC236}">
                  <a16:creationId xmlns:a16="http://schemas.microsoft.com/office/drawing/2014/main" id="{89812C03-A449-4E6A-B385-B28ADCBF046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82076" y="3282664"/>
              <a:ext cx="473206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프로필</a:t>
              </a:r>
            </a:p>
          </p:txBody>
        </p:sp>
        <p:sp>
          <p:nvSpPr>
            <p:cNvPr id="45" name="모서리가 둥근 직사각형 84">
              <a:extLst>
                <a:ext uri="{FF2B5EF4-FFF2-40B4-BE49-F238E27FC236}">
                  <a16:creationId xmlns:a16="http://schemas.microsoft.com/office/drawing/2014/main" id="{0364894C-7EF5-4429-A7E4-4F110A8B0543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1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46" name="그룹 45">
            <a:extLst>
              <a:ext uri="{FF2B5EF4-FFF2-40B4-BE49-F238E27FC236}">
                <a16:creationId xmlns:a16="http://schemas.microsoft.com/office/drawing/2014/main" id="{A6592A86-87EA-4528-A0E3-E9E88A94CEBB}"/>
              </a:ext>
            </a:extLst>
          </p:cNvPr>
          <p:cNvGrpSpPr/>
          <p:nvPr/>
        </p:nvGrpSpPr>
        <p:grpSpPr>
          <a:xfrm>
            <a:off x="6670470" y="4725760"/>
            <a:ext cx="1383300" cy="230832"/>
            <a:chOff x="7316687" y="3282664"/>
            <a:chExt cx="1383300" cy="230832"/>
          </a:xfrm>
        </p:grpSpPr>
        <p:sp>
          <p:nvSpPr>
            <p:cNvPr id="47" name="TextBox 174">
              <a:extLst>
                <a:ext uri="{FF2B5EF4-FFF2-40B4-BE49-F238E27FC236}">
                  <a16:creationId xmlns:a16="http://schemas.microsoft.com/office/drawing/2014/main" id="{8B6D7854-3A5A-410F-9BCD-7D8AC9FB0BB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120898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예방점검 상담 요청 버튼</a:t>
              </a:r>
            </a:p>
          </p:txBody>
        </p:sp>
        <p:sp>
          <p:nvSpPr>
            <p:cNvPr id="48" name="모서리가 둥근 직사각형 84">
              <a:extLst>
                <a:ext uri="{FF2B5EF4-FFF2-40B4-BE49-F238E27FC236}">
                  <a16:creationId xmlns:a16="http://schemas.microsoft.com/office/drawing/2014/main" id="{275C06E8-DA68-4DC6-ABC0-42CF1F0A506C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3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49" name="TextBox 174">
            <a:extLst>
              <a:ext uri="{FF2B5EF4-FFF2-40B4-BE49-F238E27FC236}">
                <a16:creationId xmlns:a16="http://schemas.microsoft.com/office/drawing/2014/main" id="{9004C666-C3D3-47A2-A233-FADDBCB10E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25766" y="2135580"/>
            <a:ext cx="2573667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사용자 개인 정보 확인</a:t>
            </a:r>
            <a:endParaRPr lang="en-US" altLang="ko-KR" sz="900" b="1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1450" indent="-171450">
              <a:spcBef>
                <a:spcPts val="300"/>
              </a:spcBef>
              <a:buClr>
                <a:srgbClr val="D0A660"/>
              </a:buClr>
              <a:buSzPct val="100000"/>
              <a:buFontTx/>
              <a:buChar char="-"/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성명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1450" indent="-171450">
              <a:spcBef>
                <a:spcPts val="300"/>
              </a:spcBef>
              <a:buClr>
                <a:srgbClr val="D0A660"/>
              </a:buClr>
              <a:buSzPct val="100000"/>
              <a:buFontTx/>
              <a:buChar char="-"/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전화번호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1450" indent="-171450">
              <a:spcBef>
                <a:spcPts val="300"/>
              </a:spcBef>
              <a:buClr>
                <a:srgbClr val="D0A660"/>
              </a:buClr>
              <a:buSzPct val="100000"/>
              <a:buFontTx/>
              <a:buChar char="-"/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주소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1450" indent="-171450">
              <a:spcBef>
                <a:spcPts val="300"/>
              </a:spcBef>
              <a:buClr>
                <a:srgbClr val="D0A660"/>
              </a:buClr>
              <a:buSzPct val="100000"/>
              <a:buFontTx/>
              <a:buChar char="-"/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리워드 포인트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클릭 시 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[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리워드 포인트 조회 화면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]</a:t>
            </a:r>
            <a:r>
              <a:rPr lang="ko-KR" altLang="en-US" sz="900" spc="-150" dirty="0" err="1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으로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이동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sp>
        <p:nvSpPr>
          <p:cNvPr id="50" name="TextBox 174">
            <a:extLst>
              <a:ext uri="{FF2B5EF4-FFF2-40B4-BE49-F238E27FC236}">
                <a16:creationId xmlns:a16="http://schemas.microsoft.com/office/drawing/2014/main" id="{F0B0DA2F-7455-435A-B7C0-91C938DABD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30389" y="4994429"/>
            <a:ext cx="2573667" cy="4078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재활보조기구가 없을 경우 표출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클릭 시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[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방문점검 요청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]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화면으로 이동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</p:txBody>
      </p:sp>
      <p:grpSp>
        <p:nvGrpSpPr>
          <p:cNvPr id="51" name="그룹 50">
            <a:extLst>
              <a:ext uri="{FF2B5EF4-FFF2-40B4-BE49-F238E27FC236}">
                <a16:creationId xmlns:a16="http://schemas.microsoft.com/office/drawing/2014/main" id="{D62A3EE5-C3CF-4FEC-B684-80E7B388D049}"/>
              </a:ext>
            </a:extLst>
          </p:cNvPr>
          <p:cNvGrpSpPr/>
          <p:nvPr/>
        </p:nvGrpSpPr>
        <p:grpSpPr>
          <a:xfrm>
            <a:off x="9333242" y="2037090"/>
            <a:ext cx="1149262" cy="230832"/>
            <a:chOff x="7316687" y="3282664"/>
            <a:chExt cx="1149262" cy="230832"/>
          </a:xfrm>
        </p:grpSpPr>
        <p:sp>
          <p:nvSpPr>
            <p:cNvPr id="52" name="TextBox 174">
              <a:extLst>
                <a:ext uri="{FF2B5EF4-FFF2-40B4-BE49-F238E27FC236}">
                  <a16:creationId xmlns:a16="http://schemas.microsoft.com/office/drawing/2014/main" id="{305257A5-0533-45DA-A5F9-B50A96D198C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974947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나의 재활보조기구</a:t>
              </a:r>
            </a:p>
          </p:txBody>
        </p:sp>
        <p:sp>
          <p:nvSpPr>
            <p:cNvPr id="53" name="모서리가 둥근 직사각형 84">
              <a:extLst>
                <a:ext uri="{FF2B5EF4-FFF2-40B4-BE49-F238E27FC236}">
                  <a16:creationId xmlns:a16="http://schemas.microsoft.com/office/drawing/2014/main" id="{0AC06584-D7A5-4911-8DB1-30CCB157C270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6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54" name="TextBox 174">
            <a:extLst>
              <a:ext uri="{FF2B5EF4-FFF2-40B4-BE49-F238E27FC236}">
                <a16:creationId xmlns:a16="http://schemas.microsoft.com/office/drawing/2014/main" id="{FAB35C50-8BBB-465E-8BD1-6D33BAD064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93161" y="2305759"/>
            <a:ext cx="2573667" cy="19620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재활보조기구 및 구성품 조회</a:t>
            </a:r>
            <a:endParaRPr lang="en-US" altLang="ko-KR" sz="900" b="1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1450" indent="-171450">
              <a:spcBef>
                <a:spcPts val="300"/>
              </a:spcBef>
              <a:buClr>
                <a:srgbClr val="D0A660"/>
              </a:buClr>
              <a:buSzPct val="100000"/>
              <a:buFontTx/>
              <a:buChar char="-"/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재활보조기구 및 </a:t>
            </a:r>
            <a:r>
              <a:rPr lang="ko-KR" altLang="en-US" sz="900" spc="-150" dirty="0" err="1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구성품명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1450" indent="-171450">
              <a:spcBef>
                <a:spcPts val="300"/>
              </a:spcBef>
              <a:buClr>
                <a:srgbClr val="D0A660"/>
              </a:buClr>
              <a:buSzPct val="100000"/>
              <a:buFontTx/>
              <a:buChar char="-"/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내구연한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(D-DAY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포함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)</a:t>
            </a:r>
            <a:endParaRPr lang="en-US" altLang="ko-KR" sz="900" b="1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[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더 보기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]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아이콘 클릭 시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,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고장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/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불편 점검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내구연한점검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예방점검 요청 메뉴 표출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1450" indent="-171450">
              <a:spcBef>
                <a:spcPts val="300"/>
              </a:spcBef>
              <a:buClr>
                <a:srgbClr val="D0A660"/>
              </a:buClr>
              <a:buSzPct val="100000"/>
              <a:buFontTx/>
              <a:buChar char="-"/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리워드 포인트에 따라 활성화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/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비활성화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1450" indent="-171450">
              <a:spcBef>
                <a:spcPts val="300"/>
              </a:spcBef>
              <a:buClr>
                <a:srgbClr val="D0A660"/>
              </a:buClr>
              <a:buSzPct val="100000"/>
              <a:buFontTx/>
              <a:buChar char="-"/>
              <a:defRPr/>
            </a:pPr>
            <a:r>
              <a:rPr lang="ko-KR" altLang="en-US" sz="900" spc="-150" dirty="0" err="1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내구연함점검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버튼은 내구연한 도래 시 활성화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1450" indent="-171450">
              <a:spcBef>
                <a:spcPts val="300"/>
              </a:spcBef>
              <a:buClr>
                <a:srgbClr val="D0A660"/>
              </a:buClr>
              <a:buSzPct val="100000"/>
              <a:buFontTx/>
              <a:buChar char="-"/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예방점검 버튼은 예방점검시기 도래 시 활성화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1450" indent="-171450">
              <a:spcBef>
                <a:spcPts val="300"/>
              </a:spcBef>
              <a:buClr>
                <a:srgbClr val="D0A660"/>
              </a:buClr>
              <a:buSzPct val="100000"/>
              <a:buFontTx/>
              <a:buChar char="-"/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클릭 시 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[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방문점검 요청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]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화면으로 이동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1450" indent="-171450">
              <a:spcBef>
                <a:spcPts val="300"/>
              </a:spcBef>
              <a:buClr>
                <a:srgbClr val="D0A660"/>
              </a:buClr>
              <a:buSzPct val="100000"/>
              <a:buFontTx/>
              <a:buChar char="-"/>
              <a:defRPr/>
            </a:pP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grpSp>
        <p:nvGrpSpPr>
          <p:cNvPr id="55" name="그룹 54">
            <a:extLst>
              <a:ext uri="{FF2B5EF4-FFF2-40B4-BE49-F238E27FC236}">
                <a16:creationId xmlns:a16="http://schemas.microsoft.com/office/drawing/2014/main" id="{A62F286F-BA2E-46B5-B92D-68FEFB66B418}"/>
              </a:ext>
            </a:extLst>
          </p:cNvPr>
          <p:cNvGrpSpPr/>
          <p:nvPr/>
        </p:nvGrpSpPr>
        <p:grpSpPr>
          <a:xfrm>
            <a:off x="9325902" y="4024461"/>
            <a:ext cx="668361" cy="230832"/>
            <a:chOff x="7316687" y="3282664"/>
            <a:chExt cx="668361" cy="230832"/>
          </a:xfrm>
        </p:grpSpPr>
        <p:sp>
          <p:nvSpPr>
            <p:cNvPr id="56" name="TextBox 174">
              <a:extLst>
                <a:ext uri="{FF2B5EF4-FFF2-40B4-BE49-F238E27FC236}">
                  <a16:creationId xmlns:a16="http://schemas.microsoft.com/office/drawing/2014/main" id="{1A08BAFB-F84A-4BEC-A903-CA27C1722E2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494046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하단 탭</a:t>
              </a:r>
            </a:p>
          </p:txBody>
        </p:sp>
        <p:sp>
          <p:nvSpPr>
            <p:cNvPr id="57" name="모서리가 둥근 직사각형 84">
              <a:extLst>
                <a:ext uri="{FF2B5EF4-FFF2-40B4-BE49-F238E27FC236}">
                  <a16:creationId xmlns:a16="http://schemas.microsoft.com/office/drawing/2014/main" id="{42CFFACD-FF5A-4D02-99C9-C0EE61BBC65A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7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58" name="TextBox 174">
            <a:extLst>
              <a:ext uri="{FF2B5EF4-FFF2-40B4-BE49-F238E27FC236}">
                <a16:creationId xmlns:a16="http://schemas.microsoft.com/office/drawing/2014/main" id="{03D38A20-7533-4FCA-A3EC-5C86717974B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85821" y="4309209"/>
            <a:ext cx="2573667" cy="11156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탭 화면</a:t>
            </a:r>
            <a:endParaRPr lang="en-US" altLang="ko-KR" sz="900" b="1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1450" indent="-171450">
              <a:spcBef>
                <a:spcPts val="300"/>
              </a:spcBef>
              <a:buClr>
                <a:srgbClr val="D0A660"/>
              </a:buClr>
              <a:buSzPct val="100000"/>
              <a:buFontTx/>
              <a:buChar char="-"/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홈 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: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나의 정보 및 장비 확인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1450" indent="-171450">
              <a:spcBef>
                <a:spcPts val="300"/>
              </a:spcBef>
              <a:buClr>
                <a:srgbClr val="D0A660"/>
              </a:buClr>
              <a:buSzPct val="100000"/>
              <a:buFontTx/>
              <a:buChar char="-"/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점검 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: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나의 예방점검 현황 및 이력 확인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1450" indent="-171450">
              <a:spcBef>
                <a:spcPts val="300"/>
              </a:spcBef>
              <a:buClr>
                <a:srgbClr val="D0A660"/>
              </a:buClr>
              <a:buSzPct val="100000"/>
              <a:buFontTx/>
              <a:buChar char="-"/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작업 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: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나의 작업 현황 및 이력 확인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1450" indent="-171450">
              <a:spcBef>
                <a:spcPts val="300"/>
              </a:spcBef>
              <a:buClr>
                <a:srgbClr val="D0A660"/>
              </a:buClr>
              <a:buSzPct val="100000"/>
              <a:buFontTx/>
              <a:buChar char="-"/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배달 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: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나의 배달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/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회수 현황 및 이력 확인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1450" indent="-171450">
              <a:spcBef>
                <a:spcPts val="300"/>
              </a:spcBef>
              <a:buClr>
                <a:srgbClr val="D0A660"/>
              </a:buClr>
              <a:buSzPct val="100000"/>
              <a:buFontTx/>
              <a:buChar char="-"/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전체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: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</a:t>
            </a: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추천 서비스 및 전체 서비스 표출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grpSp>
        <p:nvGrpSpPr>
          <p:cNvPr id="59" name="그룹 58">
            <a:extLst>
              <a:ext uri="{FF2B5EF4-FFF2-40B4-BE49-F238E27FC236}">
                <a16:creationId xmlns:a16="http://schemas.microsoft.com/office/drawing/2014/main" id="{152D4A79-64A5-484A-B655-FDEF7D505354}"/>
              </a:ext>
            </a:extLst>
          </p:cNvPr>
          <p:cNvGrpSpPr/>
          <p:nvPr/>
        </p:nvGrpSpPr>
        <p:grpSpPr>
          <a:xfrm>
            <a:off x="6670470" y="5650414"/>
            <a:ext cx="1073920" cy="230832"/>
            <a:chOff x="7316687" y="3282664"/>
            <a:chExt cx="1073920" cy="230832"/>
          </a:xfrm>
        </p:grpSpPr>
        <p:sp>
          <p:nvSpPr>
            <p:cNvPr id="60" name="TextBox 174">
              <a:extLst>
                <a:ext uri="{FF2B5EF4-FFF2-40B4-BE49-F238E27FC236}">
                  <a16:creationId xmlns:a16="http://schemas.microsoft.com/office/drawing/2014/main" id="{68EEDF13-9D1B-433E-AC56-2A7D449360F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89960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알림 아이콘 버튼</a:t>
              </a:r>
            </a:p>
          </p:txBody>
        </p:sp>
        <p:sp>
          <p:nvSpPr>
            <p:cNvPr id="61" name="모서리가 둥근 직사각형 84">
              <a:extLst>
                <a:ext uri="{FF2B5EF4-FFF2-40B4-BE49-F238E27FC236}">
                  <a16:creationId xmlns:a16="http://schemas.microsoft.com/office/drawing/2014/main" id="{9E3E96FD-2FC0-4EB4-B398-A41FF4702336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4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62" name="TextBox 174">
            <a:extLst>
              <a:ext uri="{FF2B5EF4-FFF2-40B4-BE49-F238E27FC236}">
                <a16:creationId xmlns:a16="http://schemas.microsoft.com/office/drawing/2014/main" id="{3ECA76DC-7047-4D7E-B2E3-450D973FE6B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30389" y="5919083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[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알림 이력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]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화면으로 이동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grpSp>
        <p:nvGrpSpPr>
          <p:cNvPr id="20" name="그룹 19">
            <a:extLst>
              <a:ext uri="{FF2B5EF4-FFF2-40B4-BE49-F238E27FC236}">
                <a16:creationId xmlns:a16="http://schemas.microsoft.com/office/drawing/2014/main" id="{F40ADEA8-EF09-FC8D-6988-86FE1F1B6EA3}"/>
              </a:ext>
            </a:extLst>
          </p:cNvPr>
          <p:cNvGrpSpPr/>
          <p:nvPr/>
        </p:nvGrpSpPr>
        <p:grpSpPr>
          <a:xfrm>
            <a:off x="6670470" y="3269538"/>
            <a:ext cx="764541" cy="230832"/>
            <a:chOff x="7316687" y="3282664"/>
            <a:chExt cx="764541" cy="230832"/>
          </a:xfrm>
        </p:grpSpPr>
        <p:sp>
          <p:nvSpPr>
            <p:cNvPr id="21" name="TextBox 174">
              <a:extLst>
                <a:ext uri="{FF2B5EF4-FFF2-40B4-BE49-F238E27FC236}">
                  <a16:creationId xmlns:a16="http://schemas.microsoft.com/office/drawing/2014/main" id="{DB8F1814-12D9-64AB-23F8-03C5A9A9F0D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590226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나의 장비</a:t>
              </a:r>
            </a:p>
          </p:txBody>
        </p:sp>
        <p:sp>
          <p:nvSpPr>
            <p:cNvPr id="22" name="모서리가 둥근 직사각형 84">
              <a:extLst>
                <a:ext uri="{FF2B5EF4-FFF2-40B4-BE49-F238E27FC236}">
                  <a16:creationId xmlns:a16="http://schemas.microsoft.com/office/drawing/2014/main" id="{208C8A27-1861-3AF0-36B3-7EFE413780E6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2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3" name="TextBox 174">
            <a:extLst>
              <a:ext uri="{FF2B5EF4-FFF2-40B4-BE49-F238E27FC236}">
                <a16:creationId xmlns:a16="http://schemas.microsoft.com/office/drawing/2014/main" id="{3097BB22-CA35-1290-8FBD-C94E43D6C45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43942" y="3544477"/>
            <a:ext cx="2573667" cy="7617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  <a:buClr>
                <a:srgbClr val="D0A660"/>
              </a:buClr>
              <a:buSzPct val="100000"/>
              <a:defRPr/>
            </a:pP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[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격자 메뉴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]</a:t>
            </a: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처방전 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-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클릭 시 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[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나의 전자처방전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]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화면으로 이동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영수증 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-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클릭 시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[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영수증 조회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]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화면으로 이동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 err="1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마이데이터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-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클릭 시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[</a:t>
            </a:r>
            <a:r>
              <a:rPr lang="ko-KR" altLang="en-US" sz="900" spc="-150" dirty="0" err="1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마이데이터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]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화면으로 이동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sp>
        <p:nvSpPr>
          <p:cNvPr id="24" name="모서리가 둥근 직사각형 84">
            <a:extLst>
              <a:ext uri="{FF2B5EF4-FFF2-40B4-BE49-F238E27FC236}">
                <a16:creationId xmlns:a16="http://schemas.microsoft.com/office/drawing/2014/main" id="{8CC7C85C-2CE4-F29F-E131-9DDE0C2828FA}"/>
              </a:ext>
            </a:extLst>
          </p:cNvPr>
          <p:cNvSpPr/>
          <p:nvPr/>
        </p:nvSpPr>
        <p:spPr>
          <a:xfrm>
            <a:off x="2787479" y="3929463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5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grpSp>
        <p:nvGrpSpPr>
          <p:cNvPr id="25" name="그룹 24">
            <a:extLst>
              <a:ext uri="{FF2B5EF4-FFF2-40B4-BE49-F238E27FC236}">
                <a16:creationId xmlns:a16="http://schemas.microsoft.com/office/drawing/2014/main" id="{E9A28829-B549-779E-04CD-B0D4F03EA50E}"/>
              </a:ext>
            </a:extLst>
          </p:cNvPr>
          <p:cNvGrpSpPr/>
          <p:nvPr/>
        </p:nvGrpSpPr>
        <p:grpSpPr>
          <a:xfrm>
            <a:off x="9325902" y="1124744"/>
            <a:ext cx="764541" cy="230832"/>
            <a:chOff x="7316687" y="3282664"/>
            <a:chExt cx="764541" cy="230832"/>
          </a:xfrm>
        </p:grpSpPr>
        <p:sp>
          <p:nvSpPr>
            <p:cNvPr id="26" name="TextBox 174">
              <a:extLst>
                <a:ext uri="{FF2B5EF4-FFF2-40B4-BE49-F238E27FC236}">
                  <a16:creationId xmlns:a16="http://schemas.microsoft.com/office/drawing/2014/main" id="{45ECE59B-4DCD-849E-0078-F12829C5F07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590226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일정 알림</a:t>
              </a:r>
              <a:endPara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  <p:sp>
          <p:nvSpPr>
            <p:cNvPr id="27" name="모서리가 둥근 직사각형 84">
              <a:extLst>
                <a:ext uri="{FF2B5EF4-FFF2-40B4-BE49-F238E27FC236}">
                  <a16:creationId xmlns:a16="http://schemas.microsoft.com/office/drawing/2014/main" id="{352250C8-2A11-F6C7-E390-E8E5A72E5320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5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8" name="TextBox 174">
            <a:extLst>
              <a:ext uri="{FF2B5EF4-FFF2-40B4-BE49-F238E27FC236}">
                <a16:creationId xmlns:a16="http://schemas.microsoft.com/office/drawing/2014/main" id="{93EA2731-DCF2-CBC3-D093-0B316B19576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85821" y="1393413"/>
            <a:ext cx="257366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진행 중인 일정이 있을 경우</a:t>
            </a:r>
            <a:r>
              <a:rPr lang="en-US" altLang="ko-Kore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, </a:t>
            </a: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가장 가까운 일정 을 전광판 형식으로 알림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sp>
        <p:nvSpPr>
          <p:cNvPr id="29" name="모서리가 둥근 직사각형 84">
            <a:extLst>
              <a:ext uri="{FF2B5EF4-FFF2-40B4-BE49-F238E27FC236}">
                <a16:creationId xmlns:a16="http://schemas.microsoft.com/office/drawing/2014/main" id="{92B43EA4-A70C-B2C7-64C3-3DE4D75A71FC}"/>
              </a:ext>
            </a:extLst>
          </p:cNvPr>
          <p:cNvSpPr/>
          <p:nvPr/>
        </p:nvSpPr>
        <p:spPr>
          <a:xfrm>
            <a:off x="2797681" y="4966888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6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31" name="모서리가 둥근 직사각형 84">
            <a:extLst>
              <a:ext uri="{FF2B5EF4-FFF2-40B4-BE49-F238E27FC236}">
                <a16:creationId xmlns:a16="http://schemas.microsoft.com/office/drawing/2014/main" id="{5B6A0723-5E8D-B2CB-76F0-73597C9F1F1A}"/>
              </a:ext>
            </a:extLst>
          </p:cNvPr>
          <p:cNvSpPr/>
          <p:nvPr/>
        </p:nvSpPr>
        <p:spPr>
          <a:xfrm>
            <a:off x="2799199" y="5887669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7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0748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그림 10" descr="텍스트, 폰트, 번호, 스크린샷이(가) 표시된 사진&#10;&#10;자동 생성된 설명">
            <a:extLst>
              <a:ext uri="{FF2B5EF4-FFF2-40B4-BE49-F238E27FC236}">
                <a16:creationId xmlns:a16="http://schemas.microsoft.com/office/drawing/2014/main" id="{BACC944C-872F-88E6-3753-C5D90A676BCB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597600" y="2062800"/>
            <a:ext cx="2052000" cy="4294800"/>
          </a:xfrm>
          <a:prstGeom prst="rect">
            <a:avLst/>
          </a:prstGeom>
        </p:spPr>
      </p:pic>
      <p:sp>
        <p:nvSpPr>
          <p:cNvPr id="2" name="제목 1">
            <a:extLst>
              <a:ext uri="{FF2B5EF4-FFF2-40B4-BE49-F238E27FC236}">
                <a16:creationId xmlns:a16="http://schemas.microsoft.com/office/drawing/2014/main" id="{0C5286BA-92CE-41FB-BB05-BE0F5BBA1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홈</a:t>
            </a:r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B73B35C2-EB8A-4573-B037-7CC6DF06F86A}"/>
              </a:ext>
            </a:extLst>
          </p:cNvPr>
          <p:cNvGrpSpPr/>
          <p:nvPr/>
        </p:nvGrpSpPr>
        <p:grpSpPr>
          <a:xfrm>
            <a:off x="0" y="-3562"/>
            <a:ext cx="9226508" cy="6816938"/>
            <a:chOff x="-1952021" y="-3562"/>
            <a:chExt cx="9226508" cy="6816938"/>
          </a:xfrm>
        </p:grpSpPr>
        <p:cxnSp>
          <p:nvCxnSpPr>
            <p:cNvPr id="6" name="직선 연결선 5">
              <a:extLst>
                <a:ext uri="{FF2B5EF4-FFF2-40B4-BE49-F238E27FC236}">
                  <a16:creationId xmlns:a16="http://schemas.microsoft.com/office/drawing/2014/main" id="{B4C45666-B8F5-4C50-86A6-C4C0BE1D6FE0}"/>
                </a:ext>
              </a:extLst>
            </p:cNvPr>
            <p:cNvCxnSpPr>
              <a:cxnSpLocks/>
            </p:cNvCxnSpPr>
            <p:nvPr/>
          </p:nvCxnSpPr>
          <p:spPr>
            <a:xfrm>
              <a:off x="7257256" y="-3562"/>
              <a:ext cx="0" cy="6816938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직선 연결선 6">
              <a:extLst>
                <a:ext uri="{FF2B5EF4-FFF2-40B4-BE49-F238E27FC236}">
                  <a16:creationId xmlns:a16="http://schemas.microsoft.com/office/drawing/2014/main" id="{4860EB04-C536-404F-98C0-823E8ADC86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1952021" y="1563825"/>
              <a:ext cx="9226508" cy="0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0B76F625-D0A3-4C9E-8D76-BC231976DDDC}"/>
              </a:ext>
            </a:extLst>
          </p:cNvPr>
          <p:cNvGrpSpPr/>
          <p:nvPr/>
        </p:nvGrpSpPr>
        <p:grpSpPr>
          <a:xfrm>
            <a:off x="479376" y="908720"/>
            <a:ext cx="6759312" cy="338554"/>
            <a:chOff x="479376" y="-963488"/>
            <a:chExt cx="6759312" cy="338554"/>
          </a:xfrm>
        </p:grpSpPr>
        <p:sp>
          <p:nvSpPr>
            <p:cNvPr id="9" name="사각형: 둥근 모서리 8">
              <a:extLst>
                <a:ext uri="{FF2B5EF4-FFF2-40B4-BE49-F238E27FC236}">
                  <a16:creationId xmlns:a16="http://schemas.microsoft.com/office/drawing/2014/main" id="{F66EE92C-BEAA-4A28-9FFE-528E99678B1D}"/>
                </a:ext>
              </a:extLst>
            </p:cNvPr>
            <p:cNvSpPr/>
            <p:nvPr/>
          </p:nvSpPr>
          <p:spPr>
            <a:xfrm>
              <a:off x="479376" y="-946863"/>
              <a:ext cx="590358" cy="305304"/>
            </a:xfrm>
            <a:prstGeom prst="roundRect">
              <a:avLst>
                <a:gd name="adj" fmla="val 50000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>
                      <a:alpha val="50000"/>
                    </a:schemeClr>
                  </a:solidFill>
                  <a:latin typeface="+mn-ea"/>
                  <a:cs typeface="Arial" panose="020B0604020202020204" pitchFamily="34" charset="0"/>
                </a:rPr>
                <a:t>0</a:t>
              </a:r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C8869CF-0725-41FD-AE4C-2AF26212AA85}"/>
                </a:ext>
              </a:extLst>
            </p:cNvPr>
            <p:cNvSpPr txBox="1"/>
            <p:nvPr/>
          </p:nvSpPr>
          <p:spPr>
            <a:xfrm>
              <a:off x="1127448" y="-963488"/>
              <a:ext cx="6111240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R="0" indent="0" algn="just" fontAlgn="base" latinLnBrk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 sz="1600" kern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defRPr>
              </a:lvl1pPr>
            </a:lstStyle>
            <a:p>
              <a:r>
                <a:rPr lang="ko-KR" altLang="en-US" err="1"/>
                <a:t>알림이력</a:t>
              </a:r>
              <a:r>
                <a:rPr lang="ko-KR" altLang="en-US"/>
                <a:t> </a:t>
              </a:r>
              <a:r>
                <a:rPr lang="en-US" altLang="ko-KR" dirty="0"/>
                <a:t>– </a:t>
              </a:r>
              <a:r>
                <a:rPr lang="ko-KR" altLang="en-US" err="1"/>
                <a:t>알림이력</a:t>
              </a:r>
              <a:r>
                <a:rPr lang="ko-KR" altLang="en-US"/>
                <a:t> 조회</a:t>
              </a:r>
              <a:endParaRPr lang="en-US" altLang="ko-KR" dirty="0"/>
            </a:p>
          </p:txBody>
        </p:sp>
      </p:grpSp>
      <p:sp>
        <p:nvSpPr>
          <p:cNvPr id="36" name="모서리가 둥근 직사각형 84">
            <a:extLst>
              <a:ext uri="{FF2B5EF4-FFF2-40B4-BE49-F238E27FC236}">
                <a16:creationId xmlns:a16="http://schemas.microsoft.com/office/drawing/2014/main" id="{1F0585D0-6BA0-4C17-9738-23830F1642DF}"/>
              </a:ext>
            </a:extLst>
          </p:cNvPr>
          <p:cNvSpPr/>
          <p:nvPr/>
        </p:nvSpPr>
        <p:spPr>
          <a:xfrm>
            <a:off x="479376" y="2617430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1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37" name="모서리가 둥근 직사각형 84">
            <a:extLst>
              <a:ext uri="{FF2B5EF4-FFF2-40B4-BE49-F238E27FC236}">
                <a16:creationId xmlns:a16="http://schemas.microsoft.com/office/drawing/2014/main" id="{8898033C-CB1B-4CA8-AB8D-80DF7D04B81D}"/>
              </a:ext>
            </a:extLst>
          </p:cNvPr>
          <p:cNvSpPr/>
          <p:nvPr/>
        </p:nvSpPr>
        <p:spPr>
          <a:xfrm>
            <a:off x="469484" y="2880740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2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grpSp>
        <p:nvGrpSpPr>
          <p:cNvPr id="68" name="그룹 67">
            <a:extLst>
              <a:ext uri="{FF2B5EF4-FFF2-40B4-BE49-F238E27FC236}">
                <a16:creationId xmlns:a16="http://schemas.microsoft.com/office/drawing/2014/main" id="{1764D8C8-E573-4A65-8CCA-C99DEA0F61CF}"/>
              </a:ext>
            </a:extLst>
          </p:cNvPr>
          <p:cNvGrpSpPr/>
          <p:nvPr/>
        </p:nvGrpSpPr>
        <p:grpSpPr>
          <a:xfrm>
            <a:off x="9284955" y="1196752"/>
            <a:ext cx="968814" cy="230832"/>
            <a:chOff x="7316687" y="3282664"/>
            <a:chExt cx="968814" cy="230832"/>
          </a:xfrm>
        </p:grpSpPr>
        <p:sp>
          <p:nvSpPr>
            <p:cNvPr id="69" name="TextBox 174">
              <a:extLst>
                <a:ext uri="{FF2B5EF4-FFF2-40B4-BE49-F238E27FC236}">
                  <a16:creationId xmlns:a16="http://schemas.microsoft.com/office/drawing/2014/main" id="{454269B1-3B7D-4DC7-BF6D-9090ECD0A86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82076" y="3282664"/>
              <a:ext cx="80342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알림 발생 일자</a:t>
              </a:r>
            </a:p>
          </p:txBody>
        </p:sp>
        <p:sp>
          <p:nvSpPr>
            <p:cNvPr id="70" name="모서리가 둥근 직사각형 84">
              <a:extLst>
                <a:ext uri="{FF2B5EF4-FFF2-40B4-BE49-F238E27FC236}">
                  <a16:creationId xmlns:a16="http://schemas.microsoft.com/office/drawing/2014/main" id="{115859C1-4090-4C80-9321-0FE1869E5FD7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1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71" name="그룹 70">
            <a:extLst>
              <a:ext uri="{FF2B5EF4-FFF2-40B4-BE49-F238E27FC236}">
                <a16:creationId xmlns:a16="http://schemas.microsoft.com/office/drawing/2014/main" id="{0FFEC2D4-3E0E-4B6D-953A-910AAC557FE0}"/>
              </a:ext>
            </a:extLst>
          </p:cNvPr>
          <p:cNvGrpSpPr/>
          <p:nvPr/>
        </p:nvGrpSpPr>
        <p:grpSpPr>
          <a:xfrm>
            <a:off x="9290224" y="1585585"/>
            <a:ext cx="860721" cy="230832"/>
            <a:chOff x="7316687" y="3282664"/>
            <a:chExt cx="860721" cy="230832"/>
          </a:xfrm>
        </p:grpSpPr>
        <p:sp>
          <p:nvSpPr>
            <p:cNvPr id="72" name="TextBox 174">
              <a:extLst>
                <a:ext uri="{FF2B5EF4-FFF2-40B4-BE49-F238E27FC236}">
                  <a16:creationId xmlns:a16="http://schemas.microsoft.com/office/drawing/2014/main" id="{1CD4EF5F-ECAD-4A8C-B709-2B17D969239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686406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발생한 알림</a:t>
              </a:r>
            </a:p>
          </p:txBody>
        </p:sp>
        <p:sp>
          <p:nvSpPr>
            <p:cNvPr id="73" name="모서리가 둥근 직사각형 84">
              <a:extLst>
                <a:ext uri="{FF2B5EF4-FFF2-40B4-BE49-F238E27FC236}">
                  <a16:creationId xmlns:a16="http://schemas.microsoft.com/office/drawing/2014/main" id="{7E0D9B18-C53B-41DF-B93B-12802483FAC1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2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74" name="TextBox 174">
            <a:extLst>
              <a:ext uri="{FF2B5EF4-FFF2-40B4-BE49-F238E27FC236}">
                <a16:creationId xmlns:a16="http://schemas.microsoft.com/office/drawing/2014/main" id="{CBF80215-9F58-425B-BDBC-30FA62B0011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44873" y="1823308"/>
            <a:ext cx="2573667" cy="17466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알림 종류</a:t>
            </a:r>
            <a:endParaRPr lang="en-US" altLang="ko-KR" sz="900" b="1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1450" indent="-171450">
              <a:spcBef>
                <a:spcPts val="300"/>
              </a:spcBef>
              <a:buClr>
                <a:srgbClr val="D0A660"/>
              </a:buClr>
              <a:buSzPct val="100000"/>
              <a:buFontTx/>
              <a:buChar char="-"/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일상편의 알림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(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내구연한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예방점검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충전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)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1450" indent="-171450">
              <a:spcBef>
                <a:spcPts val="300"/>
              </a:spcBef>
              <a:buClr>
                <a:srgbClr val="D0A660"/>
              </a:buClr>
              <a:buSzPct val="100000"/>
              <a:buFontTx/>
              <a:buChar char="-"/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맞춤배달 알림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(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배달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/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회수 일정 확정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당일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결과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)</a:t>
            </a:r>
          </a:p>
          <a:p>
            <a:pPr marL="171450" indent="-171450">
              <a:spcBef>
                <a:spcPts val="300"/>
              </a:spcBef>
              <a:buClr>
                <a:srgbClr val="D0A660"/>
              </a:buClr>
              <a:buSzPct val="100000"/>
              <a:buFontTx/>
              <a:buChar char="-"/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맞춤예약 알림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(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예약 가능 일정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확정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당일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다음 방문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결과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상담데이터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거래명세서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ko-KR" altLang="en-US" sz="900" spc="-150" dirty="0" err="1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비대면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검수데이터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검진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/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검사 데이터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장애인등록증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)</a:t>
            </a:r>
          </a:p>
          <a:p>
            <a:pPr marL="171450" indent="-171450">
              <a:spcBef>
                <a:spcPts val="300"/>
              </a:spcBef>
              <a:buClr>
                <a:srgbClr val="D0A660"/>
              </a:buClr>
              <a:buSzPct val="100000"/>
              <a:buFontTx/>
              <a:buChar char="-"/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방문점검 알림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(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일정 확정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당일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결과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)</a:t>
            </a:r>
          </a:p>
          <a:p>
            <a:pPr marL="171450" indent="-171450">
              <a:spcBef>
                <a:spcPts val="300"/>
              </a:spcBef>
              <a:buClr>
                <a:srgbClr val="D0A660"/>
              </a:buClr>
              <a:buSzPct val="100000"/>
              <a:buFontTx/>
              <a:buChar char="-"/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서비스만족도 조사 알림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(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서비스 만족도 조사 요청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)</a:t>
            </a: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알림 내용</a:t>
            </a:r>
            <a:endParaRPr lang="en-US" altLang="ko-KR" sz="900" b="1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알림 시간</a:t>
            </a:r>
            <a:endParaRPr lang="en-US" altLang="ko-KR" sz="900" b="1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pic>
        <p:nvPicPr>
          <p:cNvPr id="4" name="그림 3" descr="텍스트, 스크린샷, 폰트, 직사각형이(가) 표시된 사진&#10;&#10;자동 생성된 설명">
            <a:extLst>
              <a:ext uri="{FF2B5EF4-FFF2-40B4-BE49-F238E27FC236}">
                <a16:creationId xmlns:a16="http://schemas.microsoft.com/office/drawing/2014/main" id="{F77F6566-16B7-3884-E45A-27D5BA1C2254}"/>
              </a:ext>
            </a:extLst>
          </p:cNvPr>
          <p:cNvPicPr>
            <a:picLocks/>
          </p:cNvPicPr>
          <p:nvPr/>
        </p:nvPicPr>
        <p:blipFill>
          <a:blip r:embed="rId5"/>
          <a:stretch>
            <a:fillRect/>
          </a:stretch>
        </p:blipFill>
        <p:spPr>
          <a:xfrm>
            <a:off x="3084846" y="1960682"/>
            <a:ext cx="2239200" cy="756000"/>
          </a:xfrm>
          <a:prstGeom prst="rect">
            <a:avLst/>
          </a:prstGeom>
        </p:spPr>
      </p:pic>
      <p:pic>
        <p:nvPicPr>
          <p:cNvPr id="12" name="그림 11" descr="텍스트, 스크린샷, 폰트, 명함이(가) 표시된 사진&#10;&#10;자동 생성된 설명">
            <a:extLst>
              <a:ext uri="{FF2B5EF4-FFF2-40B4-BE49-F238E27FC236}">
                <a16:creationId xmlns:a16="http://schemas.microsoft.com/office/drawing/2014/main" id="{82CBCBD9-2D3F-1B58-5C80-610E3BFA67E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84846" y="2578579"/>
            <a:ext cx="2239200" cy="756000"/>
          </a:xfrm>
          <a:prstGeom prst="rect">
            <a:avLst/>
          </a:prstGeom>
        </p:spPr>
      </p:pic>
      <p:pic>
        <p:nvPicPr>
          <p:cNvPr id="14" name="그림 13" descr="텍스트, 스크린샷, 폰트, 명함이(가) 표시된 사진&#10;&#10;자동 생성된 설명">
            <a:extLst>
              <a:ext uri="{FF2B5EF4-FFF2-40B4-BE49-F238E27FC236}">
                <a16:creationId xmlns:a16="http://schemas.microsoft.com/office/drawing/2014/main" id="{66FD1774-6FAC-2322-10AA-B02A8B29718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84846" y="3202117"/>
            <a:ext cx="2239200" cy="581126"/>
          </a:xfrm>
          <a:prstGeom prst="rect">
            <a:avLst/>
          </a:prstGeom>
        </p:spPr>
      </p:pic>
      <p:pic>
        <p:nvPicPr>
          <p:cNvPr id="16" name="그림 15" descr="텍스트, 스크린샷, 폰트이(가) 표시된 사진&#10;&#10;자동 생성된 설명">
            <a:extLst>
              <a:ext uri="{FF2B5EF4-FFF2-40B4-BE49-F238E27FC236}">
                <a16:creationId xmlns:a16="http://schemas.microsoft.com/office/drawing/2014/main" id="{ACFCB98A-AC56-5E2A-7B4B-A19C0652047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084846" y="3687552"/>
            <a:ext cx="2239200" cy="581126"/>
          </a:xfrm>
          <a:prstGeom prst="rect">
            <a:avLst/>
          </a:prstGeom>
        </p:spPr>
      </p:pic>
      <p:pic>
        <p:nvPicPr>
          <p:cNvPr id="21" name="그림 20" descr="텍스트, 스크린샷, 폰트, 명함이(가) 표시된 사진&#10;&#10;자동 생성된 설명">
            <a:extLst>
              <a:ext uri="{FF2B5EF4-FFF2-40B4-BE49-F238E27FC236}">
                <a16:creationId xmlns:a16="http://schemas.microsoft.com/office/drawing/2014/main" id="{3FD3C0A1-A7ED-D9BA-77FD-C5D2021AE9A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073963" y="4567738"/>
            <a:ext cx="2239200" cy="581126"/>
          </a:xfrm>
          <a:prstGeom prst="rect">
            <a:avLst/>
          </a:prstGeom>
        </p:spPr>
      </p:pic>
      <p:pic>
        <p:nvPicPr>
          <p:cNvPr id="23" name="그림 22" descr="텍스트, 스크린샷, 폰트, 직사각형이(가) 표시된 사진&#10;&#10;자동 생성된 설명">
            <a:extLst>
              <a:ext uri="{FF2B5EF4-FFF2-40B4-BE49-F238E27FC236}">
                <a16:creationId xmlns:a16="http://schemas.microsoft.com/office/drawing/2014/main" id="{BAD9F0E5-C05E-190D-ABB8-B7DE7F57BB6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073963" y="5004848"/>
            <a:ext cx="2239200" cy="581126"/>
          </a:xfrm>
          <a:prstGeom prst="rect">
            <a:avLst/>
          </a:prstGeom>
        </p:spPr>
      </p:pic>
      <p:pic>
        <p:nvPicPr>
          <p:cNvPr id="25" name="그림 24" descr="텍스트, 스크린샷, 폰트, 직사각형이(가) 표시된 사진&#10;&#10;자동 생성된 설명">
            <a:extLst>
              <a:ext uri="{FF2B5EF4-FFF2-40B4-BE49-F238E27FC236}">
                <a16:creationId xmlns:a16="http://schemas.microsoft.com/office/drawing/2014/main" id="{6EA90248-D546-6B60-4F4A-F407D308FCC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244629" y="3690355"/>
            <a:ext cx="2239200" cy="581126"/>
          </a:xfrm>
          <a:prstGeom prst="rect">
            <a:avLst/>
          </a:prstGeom>
        </p:spPr>
      </p:pic>
      <p:pic>
        <p:nvPicPr>
          <p:cNvPr id="29" name="그림 28" descr="텍스트, 스크린샷, 폰트, 직사각형이(가) 표시된 사진&#10;&#10;자동 생성된 설명">
            <a:extLst>
              <a:ext uri="{FF2B5EF4-FFF2-40B4-BE49-F238E27FC236}">
                <a16:creationId xmlns:a16="http://schemas.microsoft.com/office/drawing/2014/main" id="{98A685A9-13DF-DCC6-E84A-CDD531A17F7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238106" y="2599254"/>
            <a:ext cx="2239200" cy="757063"/>
          </a:xfrm>
          <a:prstGeom prst="rect">
            <a:avLst/>
          </a:prstGeom>
        </p:spPr>
      </p:pic>
      <p:pic>
        <p:nvPicPr>
          <p:cNvPr id="31" name="그림 30" descr="텍스트, 스크린샷, 폰트, 직사각형이(가) 표시된 사진&#10;&#10;자동 생성된 설명">
            <a:extLst>
              <a:ext uri="{FF2B5EF4-FFF2-40B4-BE49-F238E27FC236}">
                <a16:creationId xmlns:a16="http://schemas.microsoft.com/office/drawing/2014/main" id="{065A721B-FC59-AD9D-F88B-73E4AD642DB7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238106" y="3223855"/>
            <a:ext cx="2239200" cy="581126"/>
          </a:xfrm>
          <a:prstGeom prst="rect">
            <a:avLst/>
          </a:prstGeom>
        </p:spPr>
      </p:pic>
      <p:pic>
        <p:nvPicPr>
          <p:cNvPr id="38" name="그림 37" descr="텍스트, 스크린샷, 폰트, 명함이(가) 표시된 사진&#10;&#10;자동 생성된 설명">
            <a:extLst>
              <a:ext uri="{FF2B5EF4-FFF2-40B4-BE49-F238E27FC236}">
                <a16:creationId xmlns:a16="http://schemas.microsoft.com/office/drawing/2014/main" id="{AFE83234-10F8-11F8-0CB5-253C799F7968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246721" y="4136216"/>
            <a:ext cx="2239200" cy="581126"/>
          </a:xfrm>
          <a:prstGeom prst="rect">
            <a:avLst/>
          </a:prstGeom>
        </p:spPr>
      </p:pic>
      <p:pic>
        <p:nvPicPr>
          <p:cNvPr id="40" name="그림 39" descr="텍스트, 스크린샷, 폰트, 직사각형이(가) 표시된 사진&#10;&#10;자동 생성된 설명">
            <a:extLst>
              <a:ext uri="{FF2B5EF4-FFF2-40B4-BE49-F238E27FC236}">
                <a16:creationId xmlns:a16="http://schemas.microsoft.com/office/drawing/2014/main" id="{C85A41B3-BE88-90F9-730E-9B1CE451010F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246721" y="4567738"/>
            <a:ext cx="2239200" cy="581126"/>
          </a:xfrm>
          <a:prstGeom prst="rect">
            <a:avLst/>
          </a:prstGeom>
        </p:spPr>
      </p:pic>
      <p:pic>
        <p:nvPicPr>
          <p:cNvPr id="42" name="그림 41" descr="텍스트, 스크린샷, 폰트, 직사각형이(가) 표시된 사진&#10;&#10;자동 생성된 설명">
            <a:extLst>
              <a:ext uri="{FF2B5EF4-FFF2-40B4-BE49-F238E27FC236}">
                <a16:creationId xmlns:a16="http://schemas.microsoft.com/office/drawing/2014/main" id="{1B0D952B-2E78-EA6A-2E3D-AB9BA4F64BB4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5246721" y="5018091"/>
            <a:ext cx="2239200" cy="581126"/>
          </a:xfrm>
          <a:prstGeom prst="rect">
            <a:avLst/>
          </a:prstGeom>
        </p:spPr>
      </p:pic>
      <p:pic>
        <p:nvPicPr>
          <p:cNvPr id="48" name="그림 47" descr="텍스트, 스크린샷, 폰트, 직사각형이(가) 표시된 사진&#10;&#10;자동 생성된 설명">
            <a:extLst>
              <a:ext uri="{FF2B5EF4-FFF2-40B4-BE49-F238E27FC236}">
                <a16:creationId xmlns:a16="http://schemas.microsoft.com/office/drawing/2014/main" id="{B07D9CE8-BE28-B889-131E-A62B3CDF9A6E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3082309" y="4121957"/>
            <a:ext cx="2239200" cy="581126"/>
          </a:xfrm>
          <a:prstGeom prst="rect">
            <a:avLst/>
          </a:prstGeom>
        </p:spPr>
      </p:pic>
      <p:pic>
        <p:nvPicPr>
          <p:cNvPr id="18" name="그림 17" descr="텍스트, 스크린샷, 폰트, 직사각형이(가) 표시된 사진&#10;&#10;자동 생성된 설명">
            <a:extLst>
              <a:ext uri="{FF2B5EF4-FFF2-40B4-BE49-F238E27FC236}">
                <a16:creationId xmlns:a16="http://schemas.microsoft.com/office/drawing/2014/main" id="{04896088-2744-D54F-EDC4-319AAB6154CA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5222719" y="1935440"/>
            <a:ext cx="2261110" cy="764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1961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C5286BA-92CE-41FB-BB05-BE0F5BBA1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err="1"/>
              <a:t>마이데이터</a:t>
            </a:r>
            <a:endParaRPr lang="ko-KR" altLang="en-US" dirty="0"/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B73B35C2-EB8A-4573-B037-7CC6DF06F86A}"/>
              </a:ext>
            </a:extLst>
          </p:cNvPr>
          <p:cNvGrpSpPr/>
          <p:nvPr/>
        </p:nvGrpSpPr>
        <p:grpSpPr>
          <a:xfrm>
            <a:off x="0" y="-3562"/>
            <a:ext cx="9226508" cy="6816938"/>
            <a:chOff x="-1952021" y="-3562"/>
            <a:chExt cx="9226508" cy="6816938"/>
          </a:xfrm>
        </p:grpSpPr>
        <p:cxnSp>
          <p:nvCxnSpPr>
            <p:cNvPr id="6" name="직선 연결선 5">
              <a:extLst>
                <a:ext uri="{FF2B5EF4-FFF2-40B4-BE49-F238E27FC236}">
                  <a16:creationId xmlns:a16="http://schemas.microsoft.com/office/drawing/2014/main" id="{B4C45666-B8F5-4C50-86A6-C4C0BE1D6FE0}"/>
                </a:ext>
              </a:extLst>
            </p:cNvPr>
            <p:cNvCxnSpPr>
              <a:cxnSpLocks/>
            </p:cNvCxnSpPr>
            <p:nvPr/>
          </p:nvCxnSpPr>
          <p:spPr>
            <a:xfrm>
              <a:off x="7257256" y="-3562"/>
              <a:ext cx="0" cy="6816938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직선 연결선 6">
              <a:extLst>
                <a:ext uri="{FF2B5EF4-FFF2-40B4-BE49-F238E27FC236}">
                  <a16:creationId xmlns:a16="http://schemas.microsoft.com/office/drawing/2014/main" id="{4860EB04-C536-404F-98C0-823E8ADC86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1952021" y="1563825"/>
              <a:ext cx="9226508" cy="0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0B76F625-D0A3-4C9E-8D76-BC231976DDDC}"/>
              </a:ext>
            </a:extLst>
          </p:cNvPr>
          <p:cNvGrpSpPr/>
          <p:nvPr/>
        </p:nvGrpSpPr>
        <p:grpSpPr>
          <a:xfrm>
            <a:off x="479376" y="908720"/>
            <a:ext cx="6759312" cy="338554"/>
            <a:chOff x="479376" y="-963488"/>
            <a:chExt cx="6759312" cy="338554"/>
          </a:xfrm>
        </p:grpSpPr>
        <p:sp>
          <p:nvSpPr>
            <p:cNvPr id="9" name="사각형: 둥근 모서리 8">
              <a:extLst>
                <a:ext uri="{FF2B5EF4-FFF2-40B4-BE49-F238E27FC236}">
                  <a16:creationId xmlns:a16="http://schemas.microsoft.com/office/drawing/2014/main" id="{F66EE92C-BEAA-4A28-9FFE-528E99678B1D}"/>
                </a:ext>
              </a:extLst>
            </p:cNvPr>
            <p:cNvSpPr/>
            <p:nvPr/>
          </p:nvSpPr>
          <p:spPr>
            <a:xfrm>
              <a:off x="479376" y="-946863"/>
              <a:ext cx="590358" cy="305304"/>
            </a:xfrm>
            <a:prstGeom prst="roundRect">
              <a:avLst>
                <a:gd name="adj" fmla="val 50000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>
                      <a:alpha val="50000"/>
                    </a:schemeClr>
                  </a:solidFill>
                  <a:latin typeface="+mn-ea"/>
                  <a:cs typeface="Arial" panose="020B0604020202020204" pitchFamily="34" charset="0"/>
                </a:rPr>
                <a:t>0</a:t>
              </a:r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C8869CF-0725-41FD-AE4C-2AF26212AA85}"/>
                </a:ext>
              </a:extLst>
            </p:cNvPr>
            <p:cNvSpPr txBox="1"/>
            <p:nvPr/>
          </p:nvSpPr>
          <p:spPr>
            <a:xfrm>
              <a:off x="1127448" y="-963488"/>
              <a:ext cx="6111240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R="0" indent="0" algn="just" fontAlgn="base" latinLnBrk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 sz="1600" kern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defRPr>
              </a:lvl1pPr>
            </a:lstStyle>
            <a:p>
              <a:r>
                <a:rPr lang="ko-KR" altLang="en-US" err="1"/>
                <a:t>마이데이터</a:t>
              </a:r>
              <a:r>
                <a:rPr lang="ko-KR" altLang="en-US"/>
                <a:t> 조회</a:t>
              </a:r>
              <a:r>
                <a:rPr lang="en-US" altLang="ko-KR"/>
                <a:t>– </a:t>
              </a:r>
              <a:r>
                <a:rPr lang="ko-KR" altLang="en-US"/>
                <a:t>보험자격</a:t>
              </a:r>
              <a:endParaRPr lang="en-US" altLang="ko-KR" dirty="0"/>
            </a:p>
          </p:txBody>
        </p:sp>
      </p:grpSp>
      <p:sp>
        <p:nvSpPr>
          <p:cNvPr id="3" name="직사각형 2">
            <a:extLst>
              <a:ext uri="{FF2B5EF4-FFF2-40B4-BE49-F238E27FC236}">
                <a16:creationId xmlns:a16="http://schemas.microsoft.com/office/drawing/2014/main" id="{609967F6-8AE0-4029-80D5-52EF6FF05D1C}"/>
              </a:ext>
            </a:extLst>
          </p:cNvPr>
          <p:cNvSpPr/>
          <p:nvPr/>
        </p:nvSpPr>
        <p:spPr>
          <a:xfrm>
            <a:off x="6096000" y="548680"/>
            <a:ext cx="2088227" cy="936099"/>
          </a:xfrm>
          <a:prstGeom prst="rect">
            <a:avLst/>
          </a:prstGeom>
          <a:solidFill>
            <a:srgbClr val="14ACA8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r>
              <a:rPr lang="ko-KR" altLang="en-US" sz="200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보류</a:t>
            </a:r>
            <a:endParaRPr lang="ko-KR" altLang="en-US" sz="20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085378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 descr="텍스트, 영수증, 스크린샷, 폰트이(가) 표시된 사진&#10;&#10;자동 생성된 설명">
            <a:extLst>
              <a:ext uri="{FF2B5EF4-FFF2-40B4-BE49-F238E27FC236}">
                <a16:creationId xmlns:a16="http://schemas.microsoft.com/office/drawing/2014/main" id="{4A4D881E-0C75-188A-FB89-1AED9201E0F6}"/>
              </a:ext>
            </a:extLst>
          </p:cNvPr>
          <p:cNvPicPr>
            <a:picLocks/>
          </p:cNvPicPr>
          <p:nvPr/>
        </p:nvPicPr>
        <p:blipFill rotWithShape="1">
          <a:blip r:embed="rId3"/>
          <a:srcRect b="6154"/>
          <a:stretch/>
        </p:blipFill>
        <p:spPr>
          <a:xfrm>
            <a:off x="2880000" y="2062799"/>
            <a:ext cx="2052000" cy="4294800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22" name="그림 21" descr="텍스트, 스크린샷, 폰트, 웹 페이지이(가) 표시된 사진&#10;&#10;자동 생성된 설명">
            <a:extLst>
              <a:ext uri="{FF2B5EF4-FFF2-40B4-BE49-F238E27FC236}">
                <a16:creationId xmlns:a16="http://schemas.microsoft.com/office/drawing/2014/main" id="{3DA4DE7E-1A39-8A61-D795-22BDA817A686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597600" y="2062800"/>
            <a:ext cx="2052000" cy="4294800"/>
          </a:xfrm>
          <a:prstGeom prst="rect">
            <a:avLst/>
          </a:prstGeom>
        </p:spPr>
      </p:pic>
      <p:sp>
        <p:nvSpPr>
          <p:cNvPr id="2" name="제목 1">
            <a:extLst>
              <a:ext uri="{FF2B5EF4-FFF2-40B4-BE49-F238E27FC236}">
                <a16:creationId xmlns:a16="http://schemas.microsoft.com/office/drawing/2014/main" id="{0C5286BA-92CE-41FB-BB05-BE0F5BBA1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err="1"/>
              <a:t>마이데이터</a:t>
            </a:r>
            <a:endParaRPr lang="ko-KR" altLang="en-US" dirty="0"/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B73B35C2-EB8A-4573-B037-7CC6DF06F86A}"/>
              </a:ext>
            </a:extLst>
          </p:cNvPr>
          <p:cNvGrpSpPr/>
          <p:nvPr/>
        </p:nvGrpSpPr>
        <p:grpSpPr>
          <a:xfrm>
            <a:off x="0" y="-3562"/>
            <a:ext cx="9226508" cy="6816938"/>
            <a:chOff x="-1952021" y="-3562"/>
            <a:chExt cx="9226508" cy="6816938"/>
          </a:xfrm>
        </p:grpSpPr>
        <p:cxnSp>
          <p:nvCxnSpPr>
            <p:cNvPr id="6" name="직선 연결선 5">
              <a:extLst>
                <a:ext uri="{FF2B5EF4-FFF2-40B4-BE49-F238E27FC236}">
                  <a16:creationId xmlns:a16="http://schemas.microsoft.com/office/drawing/2014/main" id="{B4C45666-B8F5-4C50-86A6-C4C0BE1D6FE0}"/>
                </a:ext>
              </a:extLst>
            </p:cNvPr>
            <p:cNvCxnSpPr>
              <a:cxnSpLocks/>
            </p:cNvCxnSpPr>
            <p:nvPr/>
          </p:nvCxnSpPr>
          <p:spPr>
            <a:xfrm>
              <a:off x="7257256" y="-3562"/>
              <a:ext cx="0" cy="6816938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직선 연결선 6">
              <a:extLst>
                <a:ext uri="{FF2B5EF4-FFF2-40B4-BE49-F238E27FC236}">
                  <a16:creationId xmlns:a16="http://schemas.microsoft.com/office/drawing/2014/main" id="{4860EB04-C536-404F-98C0-823E8ADC86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1952021" y="1563825"/>
              <a:ext cx="9226508" cy="0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0B76F625-D0A3-4C9E-8D76-BC231976DDDC}"/>
              </a:ext>
            </a:extLst>
          </p:cNvPr>
          <p:cNvGrpSpPr/>
          <p:nvPr/>
        </p:nvGrpSpPr>
        <p:grpSpPr>
          <a:xfrm>
            <a:off x="479376" y="908720"/>
            <a:ext cx="6759312" cy="338554"/>
            <a:chOff x="479376" y="-963488"/>
            <a:chExt cx="6759312" cy="338554"/>
          </a:xfrm>
        </p:grpSpPr>
        <p:sp>
          <p:nvSpPr>
            <p:cNvPr id="9" name="사각형: 둥근 모서리 8">
              <a:extLst>
                <a:ext uri="{FF2B5EF4-FFF2-40B4-BE49-F238E27FC236}">
                  <a16:creationId xmlns:a16="http://schemas.microsoft.com/office/drawing/2014/main" id="{F66EE92C-BEAA-4A28-9FFE-528E99678B1D}"/>
                </a:ext>
              </a:extLst>
            </p:cNvPr>
            <p:cNvSpPr/>
            <p:nvPr/>
          </p:nvSpPr>
          <p:spPr>
            <a:xfrm>
              <a:off x="479376" y="-946863"/>
              <a:ext cx="590358" cy="305304"/>
            </a:xfrm>
            <a:prstGeom prst="roundRect">
              <a:avLst>
                <a:gd name="adj" fmla="val 50000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>
                      <a:alpha val="50000"/>
                    </a:schemeClr>
                  </a:solidFill>
                  <a:latin typeface="+mn-ea"/>
                  <a:cs typeface="Arial" panose="020B0604020202020204" pitchFamily="34" charset="0"/>
                </a:rPr>
                <a:t>0</a:t>
              </a:r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C8869CF-0725-41FD-AE4C-2AF26212AA85}"/>
                </a:ext>
              </a:extLst>
            </p:cNvPr>
            <p:cNvSpPr txBox="1"/>
            <p:nvPr/>
          </p:nvSpPr>
          <p:spPr>
            <a:xfrm>
              <a:off x="1127448" y="-963488"/>
              <a:ext cx="6111240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R="0" indent="0" algn="just" fontAlgn="base" latinLnBrk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 sz="1600" kern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defRPr>
              </a:lvl1pPr>
            </a:lstStyle>
            <a:p>
              <a:r>
                <a:rPr lang="ko-KR" altLang="en-US" err="1"/>
                <a:t>마이데이터</a:t>
              </a:r>
              <a:r>
                <a:rPr lang="ko-KR" altLang="en-US"/>
                <a:t> 조회</a:t>
              </a:r>
              <a:r>
                <a:rPr lang="en-US" altLang="ko-KR" dirty="0"/>
                <a:t>– </a:t>
              </a:r>
              <a:r>
                <a:rPr lang="ko-KR" altLang="en-US"/>
                <a:t>재활보조기구 처방전</a:t>
              </a:r>
              <a:r>
                <a:rPr lang="en-US" altLang="ko-KR" dirty="0"/>
                <a:t>(1)</a:t>
              </a:r>
            </a:p>
          </p:txBody>
        </p:sp>
      </p:grpSp>
      <p:sp>
        <p:nvSpPr>
          <p:cNvPr id="13" name="모서리가 둥근 직사각형 84">
            <a:extLst>
              <a:ext uri="{FF2B5EF4-FFF2-40B4-BE49-F238E27FC236}">
                <a16:creationId xmlns:a16="http://schemas.microsoft.com/office/drawing/2014/main" id="{DA4A8B7D-142C-48A7-94C8-D311303CC9B5}"/>
              </a:ext>
            </a:extLst>
          </p:cNvPr>
          <p:cNvSpPr/>
          <p:nvPr/>
        </p:nvSpPr>
        <p:spPr>
          <a:xfrm>
            <a:off x="395329" y="3260180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2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14" name="모서리가 둥근 직사각형 84">
            <a:extLst>
              <a:ext uri="{FF2B5EF4-FFF2-40B4-BE49-F238E27FC236}">
                <a16:creationId xmlns:a16="http://schemas.microsoft.com/office/drawing/2014/main" id="{7E1C7E40-1B3C-4104-89EA-F9A6B53BA41D}"/>
              </a:ext>
            </a:extLst>
          </p:cNvPr>
          <p:cNvSpPr/>
          <p:nvPr/>
        </p:nvSpPr>
        <p:spPr>
          <a:xfrm>
            <a:off x="677208" y="3976879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4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16" name="모서리가 둥근 직사각형 84">
            <a:extLst>
              <a:ext uri="{FF2B5EF4-FFF2-40B4-BE49-F238E27FC236}">
                <a16:creationId xmlns:a16="http://schemas.microsoft.com/office/drawing/2014/main" id="{61BB8F83-5C10-42BB-8C0F-6D5C63F4007B}"/>
              </a:ext>
            </a:extLst>
          </p:cNvPr>
          <p:cNvSpPr/>
          <p:nvPr/>
        </p:nvSpPr>
        <p:spPr>
          <a:xfrm>
            <a:off x="2765347" y="2226961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7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grpSp>
        <p:nvGrpSpPr>
          <p:cNvPr id="39" name="그룹 38">
            <a:extLst>
              <a:ext uri="{FF2B5EF4-FFF2-40B4-BE49-F238E27FC236}">
                <a16:creationId xmlns:a16="http://schemas.microsoft.com/office/drawing/2014/main" id="{93F2079E-3059-47F1-88B4-28282BB2B5CE}"/>
              </a:ext>
            </a:extLst>
          </p:cNvPr>
          <p:cNvGrpSpPr/>
          <p:nvPr/>
        </p:nvGrpSpPr>
        <p:grpSpPr>
          <a:xfrm>
            <a:off x="9298894" y="1738662"/>
            <a:ext cx="1073920" cy="230832"/>
            <a:chOff x="7316687" y="3282664"/>
            <a:chExt cx="1073920" cy="230832"/>
          </a:xfrm>
        </p:grpSpPr>
        <p:sp>
          <p:nvSpPr>
            <p:cNvPr id="40" name="TextBox 174">
              <a:extLst>
                <a:ext uri="{FF2B5EF4-FFF2-40B4-BE49-F238E27FC236}">
                  <a16:creationId xmlns:a16="http://schemas.microsoft.com/office/drawing/2014/main" id="{DB6EE768-6F14-43F3-9260-284A2709EC8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89960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전자처방전  목록</a:t>
              </a:r>
            </a:p>
          </p:txBody>
        </p:sp>
        <p:sp>
          <p:nvSpPr>
            <p:cNvPr id="41" name="모서리가 둥근 직사각형 84">
              <a:extLst>
                <a:ext uri="{FF2B5EF4-FFF2-40B4-BE49-F238E27FC236}">
                  <a16:creationId xmlns:a16="http://schemas.microsoft.com/office/drawing/2014/main" id="{9872956A-0DF9-42EE-B91A-EF739F1D500A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2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42" name="TextBox 174">
            <a:extLst>
              <a:ext uri="{FF2B5EF4-FFF2-40B4-BE49-F238E27FC236}">
                <a16:creationId xmlns:a16="http://schemas.microsoft.com/office/drawing/2014/main" id="{84E5CBB5-E1C7-47C3-945D-DDC7F3145A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53543" y="1976385"/>
            <a:ext cx="2573667" cy="9387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내원일 기준으로 처방전 그룹을 만들어 표출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일련번호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병원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처방일</a:t>
            </a: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신규 처방전 여부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grpSp>
        <p:nvGrpSpPr>
          <p:cNvPr id="43" name="그룹 42">
            <a:extLst>
              <a:ext uri="{FF2B5EF4-FFF2-40B4-BE49-F238E27FC236}">
                <a16:creationId xmlns:a16="http://schemas.microsoft.com/office/drawing/2014/main" id="{F67F5433-A2C7-4C9A-B31E-FA49C6134281}"/>
              </a:ext>
            </a:extLst>
          </p:cNvPr>
          <p:cNvGrpSpPr/>
          <p:nvPr/>
        </p:nvGrpSpPr>
        <p:grpSpPr>
          <a:xfrm>
            <a:off x="9293625" y="3501008"/>
            <a:ext cx="1190940" cy="230832"/>
            <a:chOff x="7316687" y="3282664"/>
            <a:chExt cx="1190940" cy="230832"/>
          </a:xfrm>
        </p:grpSpPr>
        <p:sp>
          <p:nvSpPr>
            <p:cNvPr id="44" name="TextBox 174">
              <a:extLst>
                <a:ext uri="{FF2B5EF4-FFF2-40B4-BE49-F238E27FC236}">
                  <a16:creationId xmlns:a16="http://schemas.microsoft.com/office/drawing/2014/main" id="{D1F27F6E-DB76-47AE-8314-3923062A9AC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101662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맞춤 예약 요청 버튼</a:t>
              </a:r>
              <a:endPara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  <p:sp>
          <p:nvSpPr>
            <p:cNvPr id="45" name="모서리가 둥근 직사각형 84">
              <a:extLst>
                <a:ext uri="{FF2B5EF4-FFF2-40B4-BE49-F238E27FC236}">
                  <a16:creationId xmlns:a16="http://schemas.microsoft.com/office/drawing/2014/main" id="{75A6CD05-8D64-4BFB-9819-2793D896AB05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4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46" name="TextBox 174">
            <a:extLst>
              <a:ext uri="{FF2B5EF4-FFF2-40B4-BE49-F238E27FC236}">
                <a16:creationId xmlns:a16="http://schemas.microsoft.com/office/drawing/2014/main" id="{11F3A164-6818-4805-B6CE-32EB83C70D6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54397" y="3721295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클릭 시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[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맞춤예약 요청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]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화면으로 이동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</p:txBody>
      </p:sp>
      <p:grpSp>
        <p:nvGrpSpPr>
          <p:cNvPr id="47" name="그룹 46">
            <a:extLst>
              <a:ext uri="{FF2B5EF4-FFF2-40B4-BE49-F238E27FC236}">
                <a16:creationId xmlns:a16="http://schemas.microsoft.com/office/drawing/2014/main" id="{DA0C0F8E-513B-41A1-BEB0-1A1EDF5EDDF6}"/>
              </a:ext>
            </a:extLst>
          </p:cNvPr>
          <p:cNvGrpSpPr/>
          <p:nvPr/>
        </p:nvGrpSpPr>
        <p:grpSpPr>
          <a:xfrm>
            <a:off x="9293626" y="4509120"/>
            <a:ext cx="1671841" cy="230832"/>
            <a:chOff x="7316687" y="3282664"/>
            <a:chExt cx="1671841" cy="230832"/>
          </a:xfrm>
        </p:grpSpPr>
        <p:sp>
          <p:nvSpPr>
            <p:cNvPr id="48" name="TextBox 174">
              <a:extLst>
                <a:ext uri="{FF2B5EF4-FFF2-40B4-BE49-F238E27FC236}">
                  <a16:creationId xmlns:a16="http://schemas.microsoft.com/office/drawing/2014/main" id="{E9D84CE6-C918-4EA9-B8F8-B0B019E7ED6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1497526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나의 전자처방전 갱신하기 버튼</a:t>
              </a:r>
            </a:p>
          </p:txBody>
        </p:sp>
        <p:sp>
          <p:nvSpPr>
            <p:cNvPr id="49" name="모서리가 둥근 직사각형 84">
              <a:extLst>
                <a:ext uri="{FF2B5EF4-FFF2-40B4-BE49-F238E27FC236}">
                  <a16:creationId xmlns:a16="http://schemas.microsoft.com/office/drawing/2014/main" id="{B399DE81-9F50-4A67-9B40-27023652F7DE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6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50" name="TextBox 174">
            <a:extLst>
              <a:ext uri="{FF2B5EF4-FFF2-40B4-BE49-F238E27FC236}">
                <a16:creationId xmlns:a16="http://schemas.microsoft.com/office/drawing/2014/main" id="{458A4F48-37BA-4444-9478-D52ACB0FCDE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54398" y="4729407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전자처방전 갱신을 위한 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[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본인인증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]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화면으로 이동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</p:txBody>
      </p:sp>
      <p:grpSp>
        <p:nvGrpSpPr>
          <p:cNvPr id="51" name="그룹 50">
            <a:extLst>
              <a:ext uri="{FF2B5EF4-FFF2-40B4-BE49-F238E27FC236}">
                <a16:creationId xmlns:a16="http://schemas.microsoft.com/office/drawing/2014/main" id="{6D8BFFCA-D3B3-4EB2-B39E-8AE68D8F7AB4}"/>
              </a:ext>
            </a:extLst>
          </p:cNvPr>
          <p:cNvGrpSpPr/>
          <p:nvPr/>
        </p:nvGrpSpPr>
        <p:grpSpPr>
          <a:xfrm>
            <a:off x="9293626" y="5198659"/>
            <a:ext cx="743702" cy="230832"/>
            <a:chOff x="7316687" y="3282664"/>
            <a:chExt cx="743702" cy="230832"/>
          </a:xfrm>
        </p:grpSpPr>
        <p:sp>
          <p:nvSpPr>
            <p:cNvPr id="52" name="TextBox 174">
              <a:extLst>
                <a:ext uri="{FF2B5EF4-FFF2-40B4-BE49-F238E27FC236}">
                  <a16:creationId xmlns:a16="http://schemas.microsoft.com/office/drawing/2014/main" id="{4C92A2C0-2732-4288-9B59-109D99E565C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569387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본인인증</a:t>
              </a:r>
            </a:p>
          </p:txBody>
        </p:sp>
        <p:sp>
          <p:nvSpPr>
            <p:cNvPr id="53" name="모서리가 둥근 직사각형 84">
              <a:extLst>
                <a:ext uri="{FF2B5EF4-FFF2-40B4-BE49-F238E27FC236}">
                  <a16:creationId xmlns:a16="http://schemas.microsoft.com/office/drawing/2014/main" id="{4D0D0705-614E-4DE8-8200-3FE441467FF4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7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54" name="TextBox 174">
            <a:extLst>
              <a:ext uri="{FF2B5EF4-FFF2-40B4-BE49-F238E27FC236}">
                <a16:creationId xmlns:a16="http://schemas.microsoft.com/office/drawing/2014/main" id="{0811CE03-BBC0-46CF-B62C-5C5BD7A145A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54398" y="5418946"/>
            <a:ext cx="2573667" cy="6848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전자처방전을 갱신하기 위한 본인인증 화면</a:t>
            </a:r>
            <a:b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</a:b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* 회원가입 시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전자처방전을 가져오기 위한 본인인증 과정과 동일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본인인증 완료 후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나의 전자처방전 목록 갱신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</p:txBody>
      </p:sp>
      <p:sp>
        <p:nvSpPr>
          <p:cNvPr id="12" name="모서리가 둥근 직사각형 84">
            <a:extLst>
              <a:ext uri="{FF2B5EF4-FFF2-40B4-BE49-F238E27FC236}">
                <a16:creationId xmlns:a16="http://schemas.microsoft.com/office/drawing/2014/main" id="{385BF1D3-6BB7-44CD-A1A0-4894AD485514}"/>
              </a:ext>
            </a:extLst>
          </p:cNvPr>
          <p:cNvSpPr/>
          <p:nvPr/>
        </p:nvSpPr>
        <p:spPr>
          <a:xfrm>
            <a:off x="415463" y="2669610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1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3" name="모서리가 둥근 직사각형 84">
            <a:extLst>
              <a:ext uri="{FF2B5EF4-FFF2-40B4-BE49-F238E27FC236}">
                <a16:creationId xmlns:a16="http://schemas.microsoft.com/office/drawing/2014/main" id="{05C7A190-A790-A71B-D466-518AA8DB2E7D}"/>
              </a:ext>
            </a:extLst>
          </p:cNvPr>
          <p:cNvSpPr/>
          <p:nvPr/>
        </p:nvSpPr>
        <p:spPr>
          <a:xfrm>
            <a:off x="415461" y="6093296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6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11" name="모서리가 둥근 직사각형 84">
            <a:extLst>
              <a:ext uri="{FF2B5EF4-FFF2-40B4-BE49-F238E27FC236}">
                <a16:creationId xmlns:a16="http://schemas.microsoft.com/office/drawing/2014/main" id="{A206A754-E662-AAA4-78FC-9F6C3FB29E8D}"/>
              </a:ext>
            </a:extLst>
          </p:cNvPr>
          <p:cNvSpPr/>
          <p:nvPr/>
        </p:nvSpPr>
        <p:spPr>
          <a:xfrm>
            <a:off x="1617144" y="3976879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5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E8BB8210-4D7B-AA1A-A35A-4D92E679F34C}"/>
              </a:ext>
            </a:extLst>
          </p:cNvPr>
          <p:cNvGrpSpPr/>
          <p:nvPr/>
        </p:nvGrpSpPr>
        <p:grpSpPr>
          <a:xfrm>
            <a:off x="9276825" y="1196752"/>
            <a:ext cx="1287120" cy="230832"/>
            <a:chOff x="7316687" y="3282664"/>
            <a:chExt cx="1287120" cy="230832"/>
          </a:xfrm>
        </p:grpSpPr>
        <p:sp>
          <p:nvSpPr>
            <p:cNvPr id="18" name="TextBox 174">
              <a:extLst>
                <a:ext uri="{FF2B5EF4-FFF2-40B4-BE49-F238E27FC236}">
                  <a16:creationId xmlns:a16="http://schemas.microsoft.com/office/drawing/2014/main" id="{B85CC9F8-0B44-61B4-48C0-BF483CCE1C7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111280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처방전 조회 날짜 선택</a:t>
              </a:r>
              <a:endPara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  <p:sp>
          <p:nvSpPr>
            <p:cNvPr id="19" name="모서리가 둥근 직사각형 84">
              <a:extLst>
                <a:ext uri="{FF2B5EF4-FFF2-40B4-BE49-F238E27FC236}">
                  <a16:creationId xmlns:a16="http://schemas.microsoft.com/office/drawing/2014/main" id="{DBAF6ADD-E485-566D-3EE2-5E02FDFA5CF8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1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0" name="TextBox 174">
            <a:extLst>
              <a:ext uri="{FF2B5EF4-FFF2-40B4-BE49-F238E27FC236}">
                <a16:creationId xmlns:a16="http://schemas.microsoft.com/office/drawing/2014/main" id="{B9E566FD-47A6-C18E-6074-7C392FF5944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37597" y="1417039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전체 기간</a:t>
            </a:r>
            <a:r>
              <a:rPr lang="en-US" altLang="ko-Kore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</a:t>
            </a: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혹은 월 별로 처방전 조회 가능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</p:txBody>
      </p:sp>
      <p:grpSp>
        <p:nvGrpSpPr>
          <p:cNvPr id="23" name="그룹 22">
            <a:extLst>
              <a:ext uri="{FF2B5EF4-FFF2-40B4-BE49-F238E27FC236}">
                <a16:creationId xmlns:a16="http://schemas.microsoft.com/office/drawing/2014/main" id="{0C8585E9-F2F5-AB9D-7930-6001E06C2AC4}"/>
              </a:ext>
            </a:extLst>
          </p:cNvPr>
          <p:cNvGrpSpPr/>
          <p:nvPr/>
        </p:nvGrpSpPr>
        <p:grpSpPr>
          <a:xfrm>
            <a:off x="9303580" y="3970604"/>
            <a:ext cx="1190940" cy="230832"/>
            <a:chOff x="7316687" y="3282664"/>
            <a:chExt cx="1190940" cy="230832"/>
          </a:xfrm>
        </p:grpSpPr>
        <p:sp>
          <p:nvSpPr>
            <p:cNvPr id="24" name="TextBox 174">
              <a:extLst>
                <a:ext uri="{FF2B5EF4-FFF2-40B4-BE49-F238E27FC236}">
                  <a16:creationId xmlns:a16="http://schemas.microsoft.com/office/drawing/2014/main" id="{868792E1-47A6-3404-A017-033ABC2CEAE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101662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맞춤 배달 요청 버튼</a:t>
              </a:r>
              <a:endPara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  <p:sp>
          <p:nvSpPr>
            <p:cNvPr id="25" name="모서리가 둥근 직사각형 84">
              <a:extLst>
                <a:ext uri="{FF2B5EF4-FFF2-40B4-BE49-F238E27FC236}">
                  <a16:creationId xmlns:a16="http://schemas.microsoft.com/office/drawing/2014/main" id="{178C6DFD-7172-D6C4-FFAB-97C961C1C565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5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6" name="TextBox 174">
            <a:extLst>
              <a:ext uri="{FF2B5EF4-FFF2-40B4-BE49-F238E27FC236}">
                <a16:creationId xmlns:a16="http://schemas.microsoft.com/office/drawing/2014/main" id="{8E6A1A88-214C-8250-452F-3EDE8CCDFA2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64352" y="4190891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클릭 시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[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맞춤배달 요청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]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화면으로 이동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</p:txBody>
      </p:sp>
      <p:grpSp>
        <p:nvGrpSpPr>
          <p:cNvPr id="32" name="그룹 31">
            <a:extLst>
              <a:ext uri="{FF2B5EF4-FFF2-40B4-BE49-F238E27FC236}">
                <a16:creationId xmlns:a16="http://schemas.microsoft.com/office/drawing/2014/main" id="{5F246452-E3FC-B64B-528C-2875089B3C66}"/>
              </a:ext>
            </a:extLst>
          </p:cNvPr>
          <p:cNvGrpSpPr/>
          <p:nvPr/>
        </p:nvGrpSpPr>
        <p:grpSpPr>
          <a:xfrm>
            <a:off x="9294903" y="2924944"/>
            <a:ext cx="1500319" cy="230832"/>
            <a:chOff x="7316687" y="3338030"/>
            <a:chExt cx="1500319" cy="230832"/>
          </a:xfrm>
        </p:grpSpPr>
        <p:sp>
          <p:nvSpPr>
            <p:cNvPr id="33" name="TextBox 174">
              <a:extLst>
                <a:ext uri="{FF2B5EF4-FFF2-40B4-BE49-F238E27FC236}">
                  <a16:creationId xmlns:a16="http://schemas.microsoft.com/office/drawing/2014/main" id="{6FFA4680-44CC-B1D0-2A78-F88A1BCF08B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338030"/>
              <a:ext cx="1326004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처방전 상세 시트 표출 버튼</a:t>
              </a:r>
              <a:endPara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  <p:sp>
          <p:nvSpPr>
            <p:cNvPr id="34" name="모서리가 둥근 직사각형 84">
              <a:extLst>
                <a:ext uri="{FF2B5EF4-FFF2-40B4-BE49-F238E27FC236}">
                  <a16:creationId xmlns:a16="http://schemas.microsoft.com/office/drawing/2014/main" id="{DB303812-E030-786D-CD91-AC050A8FECFC}"/>
                </a:ext>
              </a:extLst>
            </p:cNvPr>
            <p:cNvSpPr/>
            <p:nvPr/>
          </p:nvSpPr>
          <p:spPr>
            <a:xfrm>
              <a:off x="7316687" y="3373276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3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36" name="모서리가 둥근 직사각형 84">
            <a:extLst>
              <a:ext uri="{FF2B5EF4-FFF2-40B4-BE49-F238E27FC236}">
                <a16:creationId xmlns:a16="http://schemas.microsoft.com/office/drawing/2014/main" id="{718E480E-EEEE-4EFD-70B4-B4E2B7A05FD0}"/>
              </a:ext>
            </a:extLst>
          </p:cNvPr>
          <p:cNvSpPr/>
          <p:nvPr/>
        </p:nvSpPr>
        <p:spPr>
          <a:xfrm>
            <a:off x="1991544" y="3128841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3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37" name="TextBox 174">
            <a:extLst>
              <a:ext uri="{FF2B5EF4-FFF2-40B4-BE49-F238E27FC236}">
                <a16:creationId xmlns:a16="http://schemas.microsoft.com/office/drawing/2014/main" id="{C7828CD3-35AC-791F-E3A9-8725BA0EFE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53542" y="3142060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클릭 시</a:t>
            </a:r>
            <a:r>
              <a:rPr lang="en-US" altLang="ko-Kore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처방전 상세 시트 표출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017882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 descr="텍스트, 스크린샷, 폰트, 번호이(가) 표시된 사진&#10;&#10;자동 생성된 설명">
            <a:extLst>
              <a:ext uri="{FF2B5EF4-FFF2-40B4-BE49-F238E27FC236}">
                <a16:creationId xmlns:a16="http://schemas.microsoft.com/office/drawing/2014/main" id="{CBC35C7B-5D5F-66FF-C7B8-BA28A66AD463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597600" y="2062800"/>
            <a:ext cx="2052000" cy="4294800"/>
          </a:xfrm>
          <a:prstGeom prst="rect">
            <a:avLst/>
          </a:prstGeom>
        </p:spPr>
      </p:pic>
      <p:sp>
        <p:nvSpPr>
          <p:cNvPr id="2" name="제목 1">
            <a:extLst>
              <a:ext uri="{FF2B5EF4-FFF2-40B4-BE49-F238E27FC236}">
                <a16:creationId xmlns:a16="http://schemas.microsoft.com/office/drawing/2014/main" id="{0C5286BA-92CE-41FB-BB05-BE0F5BBA1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err="1"/>
              <a:t>마이데이터</a:t>
            </a:r>
            <a:endParaRPr lang="ko-KR" altLang="en-US" dirty="0"/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B73B35C2-EB8A-4573-B037-7CC6DF06F86A}"/>
              </a:ext>
            </a:extLst>
          </p:cNvPr>
          <p:cNvGrpSpPr/>
          <p:nvPr/>
        </p:nvGrpSpPr>
        <p:grpSpPr>
          <a:xfrm>
            <a:off x="0" y="-3562"/>
            <a:ext cx="9226508" cy="6816938"/>
            <a:chOff x="-1952021" y="-3562"/>
            <a:chExt cx="9226508" cy="6816938"/>
          </a:xfrm>
        </p:grpSpPr>
        <p:cxnSp>
          <p:nvCxnSpPr>
            <p:cNvPr id="6" name="직선 연결선 5">
              <a:extLst>
                <a:ext uri="{FF2B5EF4-FFF2-40B4-BE49-F238E27FC236}">
                  <a16:creationId xmlns:a16="http://schemas.microsoft.com/office/drawing/2014/main" id="{B4C45666-B8F5-4C50-86A6-C4C0BE1D6FE0}"/>
                </a:ext>
              </a:extLst>
            </p:cNvPr>
            <p:cNvCxnSpPr>
              <a:cxnSpLocks/>
            </p:cNvCxnSpPr>
            <p:nvPr/>
          </p:nvCxnSpPr>
          <p:spPr>
            <a:xfrm>
              <a:off x="7257256" y="-3562"/>
              <a:ext cx="0" cy="6816938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직선 연결선 6">
              <a:extLst>
                <a:ext uri="{FF2B5EF4-FFF2-40B4-BE49-F238E27FC236}">
                  <a16:creationId xmlns:a16="http://schemas.microsoft.com/office/drawing/2014/main" id="{4860EB04-C536-404F-98C0-823E8ADC86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1952021" y="1563825"/>
              <a:ext cx="9226508" cy="0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0B76F625-D0A3-4C9E-8D76-BC231976DDDC}"/>
              </a:ext>
            </a:extLst>
          </p:cNvPr>
          <p:cNvGrpSpPr/>
          <p:nvPr/>
        </p:nvGrpSpPr>
        <p:grpSpPr>
          <a:xfrm>
            <a:off x="479376" y="908720"/>
            <a:ext cx="6759312" cy="338554"/>
            <a:chOff x="479376" y="-963488"/>
            <a:chExt cx="6759312" cy="338554"/>
          </a:xfrm>
        </p:grpSpPr>
        <p:sp>
          <p:nvSpPr>
            <p:cNvPr id="9" name="사각형: 둥근 모서리 8">
              <a:extLst>
                <a:ext uri="{FF2B5EF4-FFF2-40B4-BE49-F238E27FC236}">
                  <a16:creationId xmlns:a16="http://schemas.microsoft.com/office/drawing/2014/main" id="{F66EE92C-BEAA-4A28-9FFE-528E99678B1D}"/>
                </a:ext>
              </a:extLst>
            </p:cNvPr>
            <p:cNvSpPr/>
            <p:nvPr/>
          </p:nvSpPr>
          <p:spPr>
            <a:xfrm>
              <a:off x="479376" y="-946863"/>
              <a:ext cx="590358" cy="305304"/>
            </a:xfrm>
            <a:prstGeom prst="roundRect">
              <a:avLst>
                <a:gd name="adj" fmla="val 50000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>
                      <a:alpha val="50000"/>
                    </a:schemeClr>
                  </a:solidFill>
                  <a:latin typeface="+mn-ea"/>
                  <a:cs typeface="Arial" panose="020B0604020202020204" pitchFamily="34" charset="0"/>
                </a:rPr>
                <a:t>0</a:t>
              </a:r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C8869CF-0725-41FD-AE4C-2AF26212AA85}"/>
                </a:ext>
              </a:extLst>
            </p:cNvPr>
            <p:cNvSpPr txBox="1"/>
            <p:nvPr/>
          </p:nvSpPr>
          <p:spPr>
            <a:xfrm>
              <a:off x="1127448" y="-963488"/>
              <a:ext cx="6111240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R="0" indent="0" algn="just" fontAlgn="base" latinLnBrk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 sz="1600" kern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defRPr>
              </a:lvl1pPr>
            </a:lstStyle>
            <a:p>
              <a:r>
                <a:rPr lang="ko-KR" altLang="en-US" err="1"/>
                <a:t>마이데이터</a:t>
              </a:r>
              <a:r>
                <a:rPr lang="ko-KR" altLang="en-US"/>
                <a:t> 조회</a:t>
              </a:r>
              <a:r>
                <a:rPr lang="en-US" altLang="ko-KR" dirty="0"/>
                <a:t>– </a:t>
              </a:r>
              <a:r>
                <a:rPr lang="ko-KR" altLang="en-US"/>
                <a:t>재활보조기구 처방전</a:t>
              </a:r>
              <a:r>
                <a:rPr lang="en-US" altLang="ko-KR"/>
                <a:t>(2)</a:t>
              </a:r>
              <a:endParaRPr lang="en-US" altLang="ko-KR" dirty="0"/>
            </a:p>
          </p:txBody>
        </p:sp>
      </p:grpSp>
      <p:sp>
        <p:nvSpPr>
          <p:cNvPr id="32" name="모서리가 둥근 직사각형 84">
            <a:extLst>
              <a:ext uri="{FF2B5EF4-FFF2-40B4-BE49-F238E27FC236}">
                <a16:creationId xmlns:a16="http://schemas.microsoft.com/office/drawing/2014/main" id="{9AF7444A-3B63-46B6-BF93-ACEA639517EA}"/>
              </a:ext>
            </a:extLst>
          </p:cNvPr>
          <p:cNvSpPr/>
          <p:nvPr/>
        </p:nvSpPr>
        <p:spPr>
          <a:xfrm>
            <a:off x="348259" y="3140968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1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grpSp>
        <p:nvGrpSpPr>
          <p:cNvPr id="55" name="그룹 54">
            <a:extLst>
              <a:ext uri="{FF2B5EF4-FFF2-40B4-BE49-F238E27FC236}">
                <a16:creationId xmlns:a16="http://schemas.microsoft.com/office/drawing/2014/main" id="{8679E1E9-DF26-4051-9E21-3CEE9C5DDCAB}"/>
              </a:ext>
            </a:extLst>
          </p:cNvPr>
          <p:cNvGrpSpPr/>
          <p:nvPr/>
        </p:nvGrpSpPr>
        <p:grpSpPr>
          <a:xfrm>
            <a:off x="9290224" y="1196752"/>
            <a:ext cx="1458641" cy="230832"/>
            <a:chOff x="7316687" y="3282664"/>
            <a:chExt cx="1458641" cy="230832"/>
          </a:xfrm>
        </p:grpSpPr>
        <p:sp>
          <p:nvSpPr>
            <p:cNvPr id="56" name="TextBox 174">
              <a:extLst>
                <a:ext uri="{FF2B5EF4-FFF2-40B4-BE49-F238E27FC236}">
                  <a16:creationId xmlns:a16="http://schemas.microsoft.com/office/drawing/2014/main" id="{8BFCE377-3768-4E88-A087-A07FC63E62B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1284326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전자처방전 상세보기 </a:t>
              </a: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시트</a:t>
              </a:r>
              <a:endPara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  <p:sp>
          <p:nvSpPr>
            <p:cNvPr id="57" name="모서리가 둥근 직사각형 84">
              <a:extLst>
                <a:ext uri="{FF2B5EF4-FFF2-40B4-BE49-F238E27FC236}">
                  <a16:creationId xmlns:a16="http://schemas.microsoft.com/office/drawing/2014/main" id="{6E8929E2-5A49-43D0-A43A-0CB77F74969F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1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58" name="TextBox 174">
            <a:extLst>
              <a:ext uri="{FF2B5EF4-FFF2-40B4-BE49-F238E27FC236}">
                <a16:creationId xmlns:a16="http://schemas.microsoft.com/office/drawing/2014/main" id="{9FD45DB3-4570-406A-8D0E-9515B52659F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44873" y="1434475"/>
            <a:ext cx="2573667" cy="21775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성명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재해발생일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ko-KR" altLang="en-US" sz="900" spc="-150" dirty="0" err="1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상병명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내원일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처방 담당의사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품목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구입일자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구입처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구입가격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검수일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검수 의료기관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검수 담당의사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11058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그림 44" descr="텍스트, 스크린샷이(가) 표시된 사진&#10;&#10;자동 생성된 설명">
            <a:extLst>
              <a:ext uri="{FF2B5EF4-FFF2-40B4-BE49-F238E27FC236}">
                <a16:creationId xmlns:a16="http://schemas.microsoft.com/office/drawing/2014/main" id="{9033C12A-4236-A719-3A9A-A4FBEE92D01A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597600" y="2062800"/>
            <a:ext cx="2052000" cy="4294800"/>
          </a:xfrm>
          <a:prstGeom prst="rect">
            <a:avLst/>
          </a:prstGeom>
        </p:spPr>
      </p:pic>
      <p:sp>
        <p:nvSpPr>
          <p:cNvPr id="2" name="제목 1">
            <a:extLst>
              <a:ext uri="{FF2B5EF4-FFF2-40B4-BE49-F238E27FC236}">
                <a16:creationId xmlns:a16="http://schemas.microsoft.com/office/drawing/2014/main" id="{0C5286BA-92CE-41FB-BB05-BE0F5BBA1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err="1"/>
              <a:t>마이데이터</a:t>
            </a:r>
            <a:endParaRPr lang="ko-KR" altLang="en-US" dirty="0"/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B73B35C2-EB8A-4573-B037-7CC6DF06F86A}"/>
              </a:ext>
            </a:extLst>
          </p:cNvPr>
          <p:cNvGrpSpPr/>
          <p:nvPr/>
        </p:nvGrpSpPr>
        <p:grpSpPr>
          <a:xfrm>
            <a:off x="0" y="-3562"/>
            <a:ext cx="9226508" cy="6816938"/>
            <a:chOff x="-1952021" y="-3562"/>
            <a:chExt cx="9226508" cy="6816938"/>
          </a:xfrm>
        </p:grpSpPr>
        <p:cxnSp>
          <p:nvCxnSpPr>
            <p:cNvPr id="6" name="직선 연결선 5">
              <a:extLst>
                <a:ext uri="{FF2B5EF4-FFF2-40B4-BE49-F238E27FC236}">
                  <a16:creationId xmlns:a16="http://schemas.microsoft.com/office/drawing/2014/main" id="{B4C45666-B8F5-4C50-86A6-C4C0BE1D6FE0}"/>
                </a:ext>
              </a:extLst>
            </p:cNvPr>
            <p:cNvCxnSpPr>
              <a:cxnSpLocks/>
            </p:cNvCxnSpPr>
            <p:nvPr/>
          </p:nvCxnSpPr>
          <p:spPr>
            <a:xfrm>
              <a:off x="7257256" y="-3562"/>
              <a:ext cx="0" cy="6816938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직선 연결선 6">
              <a:extLst>
                <a:ext uri="{FF2B5EF4-FFF2-40B4-BE49-F238E27FC236}">
                  <a16:creationId xmlns:a16="http://schemas.microsoft.com/office/drawing/2014/main" id="{4860EB04-C536-404F-98C0-823E8ADC86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1952021" y="1563825"/>
              <a:ext cx="9226508" cy="0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0B76F625-D0A3-4C9E-8D76-BC231976DDDC}"/>
              </a:ext>
            </a:extLst>
          </p:cNvPr>
          <p:cNvGrpSpPr/>
          <p:nvPr/>
        </p:nvGrpSpPr>
        <p:grpSpPr>
          <a:xfrm>
            <a:off x="479376" y="908720"/>
            <a:ext cx="6759312" cy="338554"/>
            <a:chOff x="479376" y="-963488"/>
            <a:chExt cx="6759312" cy="338554"/>
          </a:xfrm>
        </p:grpSpPr>
        <p:sp>
          <p:nvSpPr>
            <p:cNvPr id="9" name="사각형: 둥근 모서리 8">
              <a:extLst>
                <a:ext uri="{FF2B5EF4-FFF2-40B4-BE49-F238E27FC236}">
                  <a16:creationId xmlns:a16="http://schemas.microsoft.com/office/drawing/2014/main" id="{F66EE92C-BEAA-4A28-9FFE-528E99678B1D}"/>
                </a:ext>
              </a:extLst>
            </p:cNvPr>
            <p:cNvSpPr/>
            <p:nvPr/>
          </p:nvSpPr>
          <p:spPr>
            <a:xfrm>
              <a:off x="479376" y="-946863"/>
              <a:ext cx="590358" cy="305304"/>
            </a:xfrm>
            <a:prstGeom prst="roundRect">
              <a:avLst>
                <a:gd name="adj" fmla="val 50000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>
                      <a:alpha val="50000"/>
                    </a:schemeClr>
                  </a:solidFill>
                  <a:latin typeface="+mn-ea"/>
                  <a:cs typeface="Arial" panose="020B0604020202020204" pitchFamily="34" charset="0"/>
                </a:rPr>
                <a:t>0</a:t>
              </a:r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C8869CF-0725-41FD-AE4C-2AF26212AA85}"/>
                </a:ext>
              </a:extLst>
            </p:cNvPr>
            <p:cNvSpPr txBox="1"/>
            <p:nvPr/>
          </p:nvSpPr>
          <p:spPr>
            <a:xfrm>
              <a:off x="1127448" y="-963488"/>
              <a:ext cx="6111240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R="0" indent="0" algn="just" fontAlgn="base" latinLnBrk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 sz="1600" kern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defRPr>
              </a:lvl1pPr>
            </a:lstStyle>
            <a:p>
              <a:r>
                <a:rPr lang="ko-KR" altLang="en-US" err="1"/>
                <a:t>마이데이터</a:t>
              </a:r>
              <a:r>
                <a:rPr lang="ko-KR" altLang="en-US"/>
                <a:t> 조회</a:t>
              </a:r>
              <a:r>
                <a:rPr lang="en-US" altLang="ko-KR" dirty="0"/>
                <a:t>– </a:t>
              </a:r>
              <a:r>
                <a:rPr lang="ko-KR" altLang="en-US" dirty="0" err="1"/>
                <a:t>비대면</a:t>
              </a:r>
              <a:r>
                <a:rPr lang="ko-KR" altLang="en-US" dirty="0"/>
                <a:t> </a:t>
              </a:r>
              <a:r>
                <a:rPr lang="ko-KR" altLang="en-US"/>
                <a:t>검수 데이터</a:t>
              </a:r>
              <a:endParaRPr lang="en-US" altLang="ko-KR" dirty="0"/>
            </a:p>
          </p:txBody>
        </p:sp>
      </p:grpSp>
      <p:pic>
        <p:nvPicPr>
          <p:cNvPr id="15" name="그림 14" descr="텍스트, 스크린샷이(가) 표시된 사진&#10;&#10;자동 생성된 설명">
            <a:extLst>
              <a:ext uri="{FF2B5EF4-FFF2-40B4-BE49-F238E27FC236}">
                <a16:creationId xmlns:a16="http://schemas.microsoft.com/office/drawing/2014/main" id="{CEC32BBE-3E6F-6F2A-FA46-6B971E31DD24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2880000" y="2062799"/>
            <a:ext cx="2052000" cy="4294800"/>
          </a:xfrm>
          <a:prstGeom prst="rect">
            <a:avLst/>
          </a:prstGeom>
        </p:spPr>
      </p:pic>
      <p:grpSp>
        <p:nvGrpSpPr>
          <p:cNvPr id="25" name="그룹 24">
            <a:extLst>
              <a:ext uri="{FF2B5EF4-FFF2-40B4-BE49-F238E27FC236}">
                <a16:creationId xmlns:a16="http://schemas.microsoft.com/office/drawing/2014/main" id="{14910A89-E8C8-C0C8-AE95-CF6E4303959E}"/>
              </a:ext>
            </a:extLst>
          </p:cNvPr>
          <p:cNvGrpSpPr/>
          <p:nvPr/>
        </p:nvGrpSpPr>
        <p:grpSpPr>
          <a:xfrm>
            <a:off x="9298894" y="1340768"/>
            <a:ext cx="1404139" cy="230832"/>
            <a:chOff x="7316687" y="3282664"/>
            <a:chExt cx="1404139" cy="230832"/>
          </a:xfrm>
        </p:grpSpPr>
        <p:sp>
          <p:nvSpPr>
            <p:cNvPr id="26" name="TextBox 174">
              <a:extLst>
                <a:ext uri="{FF2B5EF4-FFF2-40B4-BE49-F238E27FC236}">
                  <a16:creationId xmlns:a16="http://schemas.microsoft.com/office/drawing/2014/main" id="{3D34AC94-C25D-CA93-C65E-A9B50E6830D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1229824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 err="1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비대면</a:t>
              </a: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 검수</a:t>
              </a: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 데이터 목록</a:t>
              </a:r>
            </a:p>
          </p:txBody>
        </p:sp>
        <p:sp>
          <p:nvSpPr>
            <p:cNvPr id="27" name="모서리가 둥근 직사각형 84">
              <a:extLst>
                <a:ext uri="{FF2B5EF4-FFF2-40B4-BE49-F238E27FC236}">
                  <a16:creationId xmlns:a16="http://schemas.microsoft.com/office/drawing/2014/main" id="{DB3D04B0-45E3-57C4-C004-A3ABA40FDC11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1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8" name="TextBox 174">
            <a:extLst>
              <a:ext uri="{FF2B5EF4-FFF2-40B4-BE49-F238E27FC236}">
                <a16:creationId xmlns:a16="http://schemas.microsoft.com/office/drawing/2014/main" id="{4714EC0A-33D4-5049-630F-DE7A0266FD9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53543" y="1578491"/>
            <a:ext cx="2573667" cy="4078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 err="1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비대면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검수 물품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검수 날짜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grpSp>
        <p:nvGrpSpPr>
          <p:cNvPr id="33" name="그룹 32">
            <a:extLst>
              <a:ext uri="{FF2B5EF4-FFF2-40B4-BE49-F238E27FC236}">
                <a16:creationId xmlns:a16="http://schemas.microsoft.com/office/drawing/2014/main" id="{625AAA59-72BA-23CF-220E-B9B6A5B3046F}"/>
              </a:ext>
            </a:extLst>
          </p:cNvPr>
          <p:cNvGrpSpPr/>
          <p:nvPr/>
        </p:nvGrpSpPr>
        <p:grpSpPr>
          <a:xfrm>
            <a:off x="9294903" y="2239018"/>
            <a:ext cx="2332278" cy="230832"/>
            <a:chOff x="7316687" y="3338030"/>
            <a:chExt cx="2332278" cy="230832"/>
          </a:xfrm>
        </p:grpSpPr>
        <p:sp>
          <p:nvSpPr>
            <p:cNvPr id="34" name="TextBox 174">
              <a:extLst>
                <a:ext uri="{FF2B5EF4-FFF2-40B4-BE49-F238E27FC236}">
                  <a16:creationId xmlns:a16="http://schemas.microsoft.com/office/drawing/2014/main" id="{9995A9E3-80BC-1A07-E68C-1ABC4CD2E95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338030"/>
              <a:ext cx="2157963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 err="1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비대면</a:t>
              </a: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 검수 데이터 상세 화면 이동 아이콘 버튼</a:t>
              </a:r>
              <a:endPara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  <p:sp>
          <p:nvSpPr>
            <p:cNvPr id="35" name="모서리가 둥근 직사각형 84">
              <a:extLst>
                <a:ext uri="{FF2B5EF4-FFF2-40B4-BE49-F238E27FC236}">
                  <a16:creationId xmlns:a16="http://schemas.microsoft.com/office/drawing/2014/main" id="{1706A0D1-0677-B44C-B995-DDD3406FF736}"/>
                </a:ext>
              </a:extLst>
            </p:cNvPr>
            <p:cNvSpPr/>
            <p:nvPr/>
          </p:nvSpPr>
          <p:spPr>
            <a:xfrm>
              <a:off x="7316687" y="3373276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2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6" name="그룹 35">
            <a:extLst>
              <a:ext uri="{FF2B5EF4-FFF2-40B4-BE49-F238E27FC236}">
                <a16:creationId xmlns:a16="http://schemas.microsoft.com/office/drawing/2014/main" id="{F82EADA3-A50A-0FFC-02DE-9C8A981530DB}"/>
              </a:ext>
            </a:extLst>
          </p:cNvPr>
          <p:cNvGrpSpPr/>
          <p:nvPr/>
        </p:nvGrpSpPr>
        <p:grpSpPr>
          <a:xfrm>
            <a:off x="9290224" y="2852936"/>
            <a:ext cx="1383300" cy="230832"/>
            <a:chOff x="7316687" y="3282664"/>
            <a:chExt cx="1383300" cy="230832"/>
          </a:xfrm>
        </p:grpSpPr>
        <p:sp>
          <p:nvSpPr>
            <p:cNvPr id="37" name="TextBox 174">
              <a:extLst>
                <a:ext uri="{FF2B5EF4-FFF2-40B4-BE49-F238E27FC236}">
                  <a16:creationId xmlns:a16="http://schemas.microsoft.com/office/drawing/2014/main" id="{F19B4EE3-8D1E-774F-428D-FF9A0EBC1D0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120898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 err="1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비대면</a:t>
              </a: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 검수 데이터</a:t>
              </a: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 상세</a:t>
              </a:r>
            </a:p>
          </p:txBody>
        </p:sp>
        <p:sp>
          <p:nvSpPr>
            <p:cNvPr id="38" name="모서리가 둥근 직사각형 84">
              <a:extLst>
                <a:ext uri="{FF2B5EF4-FFF2-40B4-BE49-F238E27FC236}">
                  <a16:creationId xmlns:a16="http://schemas.microsoft.com/office/drawing/2014/main" id="{A50F9531-3FF3-E528-02BA-2C1FB54D66FA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3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39" name="TextBox 174">
            <a:extLst>
              <a:ext uri="{FF2B5EF4-FFF2-40B4-BE49-F238E27FC236}">
                <a16:creationId xmlns:a16="http://schemas.microsoft.com/office/drawing/2014/main" id="{CC7D6FED-F741-D16B-6FAC-930D8F8C7C0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44873" y="3090659"/>
            <a:ext cx="2573667" cy="9002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기본정보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(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성명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몸무게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키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재해발생일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의지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/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보고기사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(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면허번호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))</a:t>
            </a: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 err="1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사용력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(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지급이력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파손여부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활용등급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)</a:t>
            </a: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물품구성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(</a:t>
            </a:r>
            <a:r>
              <a:rPr lang="ko-KR" altLang="en-US" sz="900" spc="-150" dirty="0" err="1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부품명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제조회사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수량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비고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)</a:t>
            </a: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착용현황 사진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</p:txBody>
      </p:sp>
      <p:sp>
        <p:nvSpPr>
          <p:cNvPr id="40" name="TextBox 174">
            <a:extLst>
              <a:ext uri="{FF2B5EF4-FFF2-40B4-BE49-F238E27FC236}">
                <a16:creationId xmlns:a16="http://schemas.microsoft.com/office/drawing/2014/main" id="{9954B41D-8406-506C-2BDB-A5F6A822F5C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52898" y="2439035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클릭 시</a:t>
            </a:r>
            <a:r>
              <a:rPr lang="en-US" altLang="ko-Kore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 </a:t>
            </a:r>
            <a:r>
              <a:rPr lang="ko-KR" altLang="en-US" sz="900" spc="-150" dirty="0" err="1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비대면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검수 데이터 상세 화면으로 이동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</p:txBody>
      </p:sp>
      <p:sp>
        <p:nvSpPr>
          <p:cNvPr id="41" name="모서리가 둥근 직사각형 84">
            <a:extLst>
              <a:ext uri="{FF2B5EF4-FFF2-40B4-BE49-F238E27FC236}">
                <a16:creationId xmlns:a16="http://schemas.microsoft.com/office/drawing/2014/main" id="{D4FE1A55-C6BB-37C0-E6F6-4A594550898C}"/>
              </a:ext>
            </a:extLst>
          </p:cNvPr>
          <p:cNvSpPr/>
          <p:nvPr/>
        </p:nvSpPr>
        <p:spPr>
          <a:xfrm>
            <a:off x="479376" y="2667895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1</a:t>
            </a:r>
            <a:endParaRPr lang="ko-KR" altLang="en-US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42" name="모서리가 둥근 직사각형 84">
            <a:extLst>
              <a:ext uri="{FF2B5EF4-FFF2-40B4-BE49-F238E27FC236}">
                <a16:creationId xmlns:a16="http://schemas.microsoft.com/office/drawing/2014/main" id="{3E08BB11-736C-0D87-23E2-0F74643FDE39}"/>
              </a:ext>
            </a:extLst>
          </p:cNvPr>
          <p:cNvSpPr/>
          <p:nvPr/>
        </p:nvSpPr>
        <p:spPr>
          <a:xfrm>
            <a:off x="2063552" y="2703141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2</a:t>
            </a:r>
            <a:endParaRPr lang="ko-KR" altLang="en-US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43" name="모서리가 둥근 직사각형 84">
            <a:extLst>
              <a:ext uri="{FF2B5EF4-FFF2-40B4-BE49-F238E27FC236}">
                <a16:creationId xmlns:a16="http://schemas.microsoft.com/office/drawing/2014/main" id="{920EAB0D-DB52-FCE6-1BC4-EA62498E8823}"/>
              </a:ext>
            </a:extLst>
          </p:cNvPr>
          <p:cNvSpPr/>
          <p:nvPr/>
        </p:nvSpPr>
        <p:spPr>
          <a:xfrm>
            <a:off x="2751884" y="2572722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3</a:t>
            </a:r>
            <a:endParaRPr lang="ko-KR" altLang="en-US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9065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그림 31" descr="텍스트, 스크린샷이(가) 표시된 사진&#10;&#10;자동 생성된 설명">
            <a:extLst>
              <a:ext uri="{FF2B5EF4-FFF2-40B4-BE49-F238E27FC236}">
                <a16:creationId xmlns:a16="http://schemas.microsoft.com/office/drawing/2014/main" id="{560D6FF9-D795-DBC4-ADA8-8D46905329A4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597600" y="2062800"/>
            <a:ext cx="2052000" cy="4294800"/>
          </a:xfrm>
          <a:prstGeom prst="rect">
            <a:avLst/>
          </a:prstGeom>
        </p:spPr>
      </p:pic>
      <p:sp>
        <p:nvSpPr>
          <p:cNvPr id="2" name="제목 1">
            <a:extLst>
              <a:ext uri="{FF2B5EF4-FFF2-40B4-BE49-F238E27FC236}">
                <a16:creationId xmlns:a16="http://schemas.microsoft.com/office/drawing/2014/main" id="{0C5286BA-92CE-41FB-BB05-BE0F5BBA1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err="1"/>
              <a:t>마이데이터</a:t>
            </a:r>
            <a:endParaRPr lang="ko-KR" altLang="en-US" dirty="0"/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B73B35C2-EB8A-4573-B037-7CC6DF06F86A}"/>
              </a:ext>
            </a:extLst>
          </p:cNvPr>
          <p:cNvGrpSpPr/>
          <p:nvPr/>
        </p:nvGrpSpPr>
        <p:grpSpPr>
          <a:xfrm>
            <a:off x="0" y="-3562"/>
            <a:ext cx="9226508" cy="6816938"/>
            <a:chOff x="-1952021" y="-3562"/>
            <a:chExt cx="9226508" cy="6816938"/>
          </a:xfrm>
        </p:grpSpPr>
        <p:cxnSp>
          <p:nvCxnSpPr>
            <p:cNvPr id="6" name="직선 연결선 5">
              <a:extLst>
                <a:ext uri="{FF2B5EF4-FFF2-40B4-BE49-F238E27FC236}">
                  <a16:creationId xmlns:a16="http://schemas.microsoft.com/office/drawing/2014/main" id="{B4C45666-B8F5-4C50-86A6-C4C0BE1D6FE0}"/>
                </a:ext>
              </a:extLst>
            </p:cNvPr>
            <p:cNvCxnSpPr>
              <a:cxnSpLocks/>
            </p:cNvCxnSpPr>
            <p:nvPr/>
          </p:nvCxnSpPr>
          <p:spPr>
            <a:xfrm>
              <a:off x="7257256" y="-3562"/>
              <a:ext cx="0" cy="6816938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직선 연결선 6">
              <a:extLst>
                <a:ext uri="{FF2B5EF4-FFF2-40B4-BE49-F238E27FC236}">
                  <a16:creationId xmlns:a16="http://schemas.microsoft.com/office/drawing/2014/main" id="{4860EB04-C536-404F-98C0-823E8ADC86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1952021" y="1563825"/>
              <a:ext cx="9226508" cy="0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0B76F625-D0A3-4C9E-8D76-BC231976DDDC}"/>
              </a:ext>
            </a:extLst>
          </p:cNvPr>
          <p:cNvGrpSpPr/>
          <p:nvPr/>
        </p:nvGrpSpPr>
        <p:grpSpPr>
          <a:xfrm>
            <a:off x="479376" y="908720"/>
            <a:ext cx="6759312" cy="338554"/>
            <a:chOff x="479376" y="-963488"/>
            <a:chExt cx="6759312" cy="338554"/>
          </a:xfrm>
        </p:grpSpPr>
        <p:sp>
          <p:nvSpPr>
            <p:cNvPr id="9" name="사각형: 둥근 모서리 8">
              <a:extLst>
                <a:ext uri="{FF2B5EF4-FFF2-40B4-BE49-F238E27FC236}">
                  <a16:creationId xmlns:a16="http://schemas.microsoft.com/office/drawing/2014/main" id="{F66EE92C-BEAA-4A28-9FFE-528E99678B1D}"/>
                </a:ext>
              </a:extLst>
            </p:cNvPr>
            <p:cNvSpPr/>
            <p:nvPr/>
          </p:nvSpPr>
          <p:spPr>
            <a:xfrm>
              <a:off x="479376" y="-946863"/>
              <a:ext cx="590358" cy="305304"/>
            </a:xfrm>
            <a:prstGeom prst="roundRect">
              <a:avLst>
                <a:gd name="adj" fmla="val 50000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>
                      <a:alpha val="50000"/>
                    </a:schemeClr>
                  </a:solidFill>
                  <a:latin typeface="+mn-ea"/>
                  <a:cs typeface="Arial" panose="020B0604020202020204" pitchFamily="34" charset="0"/>
                </a:rPr>
                <a:t>0</a:t>
              </a:r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C8869CF-0725-41FD-AE4C-2AF26212AA85}"/>
                </a:ext>
              </a:extLst>
            </p:cNvPr>
            <p:cNvSpPr txBox="1"/>
            <p:nvPr/>
          </p:nvSpPr>
          <p:spPr>
            <a:xfrm>
              <a:off x="1127448" y="-963488"/>
              <a:ext cx="6111240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R="0" indent="0" algn="just" fontAlgn="base" latinLnBrk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 sz="1600" kern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defRPr>
              </a:lvl1pPr>
            </a:lstStyle>
            <a:p>
              <a:r>
                <a:rPr lang="ko-KR" altLang="en-US" err="1"/>
                <a:t>마이데이터</a:t>
              </a:r>
              <a:r>
                <a:rPr lang="ko-KR" altLang="en-US"/>
                <a:t> 조회</a:t>
              </a:r>
              <a:r>
                <a:rPr lang="en-US" altLang="ko-KR" dirty="0"/>
                <a:t>– </a:t>
              </a:r>
              <a:r>
                <a:rPr lang="ko-KR" altLang="en-US"/>
                <a:t>상담 데이터</a:t>
              </a:r>
              <a:endParaRPr lang="en-US" altLang="ko-KR" dirty="0"/>
            </a:p>
          </p:txBody>
        </p:sp>
      </p:grpSp>
      <p:pic>
        <p:nvPicPr>
          <p:cNvPr id="14" name="그림 13" descr="텍스트, 스크린샷이(가) 표시된 사진&#10;&#10;자동 생성된 설명">
            <a:extLst>
              <a:ext uri="{FF2B5EF4-FFF2-40B4-BE49-F238E27FC236}">
                <a16:creationId xmlns:a16="http://schemas.microsoft.com/office/drawing/2014/main" id="{A81DA82E-BBC4-06EA-EF5A-ADD09787FB73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2880000" y="2062799"/>
            <a:ext cx="2052000" cy="4294800"/>
          </a:xfrm>
          <a:prstGeom prst="rect">
            <a:avLst/>
          </a:prstGeom>
        </p:spPr>
      </p:pic>
      <p:grpSp>
        <p:nvGrpSpPr>
          <p:cNvPr id="15" name="그룹 14">
            <a:extLst>
              <a:ext uri="{FF2B5EF4-FFF2-40B4-BE49-F238E27FC236}">
                <a16:creationId xmlns:a16="http://schemas.microsoft.com/office/drawing/2014/main" id="{B0782E93-5A45-519E-0B61-01EE2BBF8DD4}"/>
              </a:ext>
            </a:extLst>
          </p:cNvPr>
          <p:cNvGrpSpPr/>
          <p:nvPr/>
        </p:nvGrpSpPr>
        <p:grpSpPr>
          <a:xfrm>
            <a:off x="9298894" y="1340768"/>
            <a:ext cx="1094760" cy="230832"/>
            <a:chOff x="7316687" y="3282664"/>
            <a:chExt cx="1094760" cy="230832"/>
          </a:xfrm>
        </p:grpSpPr>
        <p:sp>
          <p:nvSpPr>
            <p:cNvPr id="16" name="TextBox 174">
              <a:extLst>
                <a:ext uri="{FF2B5EF4-FFF2-40B4-BE49-F238E27FC236}">
                  <a16:creationId xmlns:a16="http://schemas.microsoft.com/office/drawing/2014/main" id="{39AD228F-282D-6520-535F-BD7A743D91D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92044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상담 </a:t>
              </a: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데이터  목록</a:t>
              </a:r>
            </a:p>
          </p:txBody>
        </p:sp>
        <p:sp>
          <p:nvSpPr>
            <p:cNvPr id="17" name="모서리가 둥근 직사각형 84">
              <a:extLst>
                <a:ext uri="{FF2B5EF4-FFF2-40B4-BE49-F238E27FC236}">
                  <a16:creationId xmlns:a16="http://schemas.microsoft.com/office/drawing/2014/main" id="{7F205E47-9A94-1167-C6F8-0187943F03D8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1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18" name="TextBox 174">
            <a:extLst>
              <a:ext uri="{FF2B5EF4-FFF2-40B4-BE49-F238E27FC236}">
                <a16:creationId xmlns:a16="http://schemas.microsoft.com/office/drawing/2014/main" id="{3CAD70DA-9493-B0D8-ADD6-9902F52223D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53543" y="1578491"/>
            <a:ext cx="2573667" cy="4078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상담 물품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상담일자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grpSp>
        <p:nvGrpSpPr>
          <p:cNvPr id="19" name="그룹 18">
            <a:extLst>
              <a:ext uri="{FF2B5EF4-FFF2-40B4-BE49-F238E27FC236}">
                <a16:creationId xmlns:a16="http://schemas.microsoft.com/office/drawing/2014/main" id="{312E6C93-1CA9-4251-1269-C70E0FE4772C}"/>
              </a:ext>
            </a:extLst>
          </p:cNvPr>
          <p:cNvGrpSpPr/>
          <p:nvPr/>
        </p:nvGrpSpPr>
        <p:grpSpPr>
          <a:xfrm>
            <a:off x="9294903" y="2239018"/>
            <a:ext cx="2022898" cy="230832"/>
            <a:chOff x="7316687" y="3338030"/>
            <a:chExt cx="2022898" cy="230832"/>
          </a:xfrm>
        </p:grpSpPr>
        <p:sp>
          <p:nvSpPr>
            <p:cNvPr id="20" name="TextBox 174">
              <a:extLst>
                <a:ext uri="{FF2B5EF4-FFF2-40B4-BE49-F238E27FC236}">
                  <a16:creationId xmlns:a16="http://schemas.microsoft.com/office/drawing/2014/main" id="{C61CBCD2-70E1-3874-9DF2-A497E9BE45A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338030"/>
              <a:ext cx="1848583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상담 데이터 상세 화면 이동 아이콘 버튼</a:t>
              </a:r>
              <a:endPara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  <p:sp>
          <p:nvSpPr>
            <p:cNvPr id="21" name="모서리가 둥근 직사각형 84">
              <a:extLst>
                <a:ext uri="{FF2B5EF4-FFF2-40B4-BE49-F238E27FC236}">
                  <a16:creationId xmlns:a16="http://schemas.microsoft.com/office/drawing/2014/main" id="{873528E8-30D8-701D-D782-767004DE2830}"/>
                </a:ext>
              </a:extLst>
            </p:cNvPr>
            <p:cNvSpPr/>
            <p:nvPr/>
          </p:nvSpPr>
          <p:spPr>
            <a:xfrm>
              <a:off x="7316687" y="3373276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2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2" name="그룹 21">
            <a:extLst>
              <a:ext uri="{FF2B5EF4-FFF2-40B4-BE49-F238E27FC236}">
                <a16:creationId xmlns:a16="http://schemas.microsoft.com/office/drawing/2014/main" id="{9F3EA634-3597-63E9-FA43-27CAC4011653}"/>
              </a:ext>
            </a:extLst>
          </p:cNvPr>
          <p:cNvGrpSpPr/>
          <p:nvPr/>
        </p:nvGrpSpPr>
        <p:grpSpPr>
          <a:xfrm>
            <a:off x="9290224" y="2852936"/>
            <a:ext cx="1073920" cy="230832"/>
            <a:chOff x="7316687" y="3282664"/>
            <a:chExt cx="1073920" cy="230832"/>
          </a:xfrm>
        </p:grpSpPr>
        <p:sp>
          <p:nvSpPr>
            <p:cNvPr id="23" name="TextBox 174">
              <a:extLst>
                <a:ext uri="{FF2B5EF4-FFF2-40B4-BE49-F238E27FC236}">
                  <a16:creationId xmlns:a16="http://schemas.microsoft.com/office/drawing/2014/main" id="{37EF6CF6-7EC4-BB14-3E19-4871F449B78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89960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상담 데이터</a:t>
              </a: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 상세</a:t>
              </a:r>
            </a:p>
          </p:txBody>
        </p:sp>
        <p:sp>
          <p:nvSpPr>
            <p:cNvPr id="24" name="모서리가 둥근 직사각형 84">
              <a:extLst>
                <a:ext uri="{FF2B5EF4-FFF2-40B4-BE49-F238E27FC236}">
                  <a16:creationId xmlns:a16="http://schemas.microsoft.com/office/drawing/2014/main" id="{E9A48F5B-1B2B-5C6B-B971-963B0E144BB9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3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5" name="TextBox 174">
            <a:extLst>
              <a:ext uri="{FF2B5EF4-FFF2-40B4-BE49-F238E27FC236}">
                <a16:creationId xmlns:a16="http://schemas.microsoft.com/office/drawing/2014/main" id="{61B2D70E-01A0-F188-DE85-22827687348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44873" y="3090659"/>
            <a:ext cx="2573667" cy="9002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기본정보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(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성명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몸무게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키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재해발생일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의지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/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보고기사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(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면허번호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))</a:t>
            </a: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 err="1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사용력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(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지급이력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파손여부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활용등급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)</a:t>
            </a: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요청사항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(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불편사항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제작요청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)</a:t>
            </a: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물품구성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(</a:t>
            </a:r>
            <a:r>
              <a:rPr lang="ko-KR" altLang="en-US" sz="900" spc="-150" dirty="0" err="1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부품명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제조회사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수량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비고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)</a:t>
            </a:r>
          </a:p>
        </p:txBody>
      </p:sp>
      <p:sp>
        <p:nvSpPr>
          <p:cNvPr id="26" name="TextBox 174">
            <a:extLst>
              <a:ext uri="{FF2B5EF4-FFF2-40B4-BE49-F238E27FC236}">
                <a16:creationId xmlns:a16="http://schemas.microsoft.com/office/drawing/2014/main" id="{7F90B4C4-0CEE-8F52-E69C-B0C0EB8072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52898" y="2439035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클릭 시</a:t>
            </a:r>
            <a:r>
              <a:rPr lang="en-US" altLang="ko-Kore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상담 데이터 상세 화면으로 이동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</p:txBody>
      </p:sp>
      <p:sp>
        <p:nvSpPr>
          <p:cNvPr id="28" name="모서리가 둥근 직사각형 84">
            <a:extLst>
              <a:ext uri="{FF2B5EF4-FFF2-40B4-BE49-F238E27FC236}">
                <a16:creationId xmlns:a16="http://schemas.microsoft.com/office/drawing/2014/main" id="{88A7D72F-5A52-C76C-6044-C3E3E480B302}"/>
              </a:ext>
            </a:extLst>
          </p:cNvPr>
          <p:cNvSpPr/>
          <p:nvPr/>
        </p:nvSpPr>
        <p:spPr>
          <a:xfrm>
            <a:off x="479376" y="2667895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1</a:t>
            </a:r>
            <a:endParaRPr lang="ko-KR" altLang="en-US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29" name="모서리가 둥근 직사각형 84">
            <a:extLst>
              <a:ext uri="{FF2B5EF4-FFF2-40B4-BE49-F238E27FC236}">
                <a16:creationId xmlns:a16="http://schemas.microsoft.com/office/drawing/2014/main" id="{52E53937-5C21-F433-9DB8-93C87B59B8FC}"/>
              </a:ext>
            </a:extLst>
          </p:cNvPr>
          <p:cNvSpPr/>
          <p:nvPr/>
        </p:nvSpPr>
        <p:spPr>
          <a:xfrm>
            <a:off x="2063552" y="2703141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2</a:t>
            </a:r>
            <a:endParaRPr lang="ko-KR" altLang="en-US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30" name="모서리가 둥근 직사각형 84">
            <a:extLst>
              <a:ext uri="{FF2B5EF4-FFF2-40B4-BE49-F238E27FC236}">
                <a16:creationId xmlns:a16="http://schemas.microsoft.com/office/drawing/2014/main" id="{64FA227A-2B8B-B54F-DD60-855D741FD7CB}"/>
              </a:ext>
            </a:extLst>
          </p:cNvPr>
          <p:cNvSpPr/>
          <p:nvPr/>
        </p:nvSpPr>
        <p:spPr>
          <a:xfrm>
            <a:off x="2751884" y="2572722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3</a:t>
            </a:r>
            <a:endParaRPr lang="ko-KR" altLang="en-US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9844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그림 32" descr="텍스트, 스크린샷이(가) 표시된 사진&#10;&#10;자동 생성된 설명">
            <a:extLst>
              <a:ext uri="{FF2B5EF4-FFF2-40B4-BE49-F238E27FC236}">
                <a16:creationId xmlns:a16="http://schemas.microsoft.com/office/drawing/2014/main" id="{FD2AB910-31C5-2F87-F55D-69D285D63E87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597600" y="2062800"/>
            <a:ext cx="2052000" cy="4294800"/>
          </a:xfrm>
          <a:prstGeom prst="rect">
            <a:avLst/>
          </a:prstGeom>
        </p:spPr>
      </p:pic>
      <p:sp>
        <p:nvSpPr>
          <p:cNvPr id="2" name="제목 1">
            <a:extLst>
              <a:ext uri="{FF2B5EF4-FFF2-40B4-BE49-F238E27FC236}">
                <a16:creationId xmlns:a16="http://schemas.microsoft.com/office/drawing/2014/main" id="{0C5286BA-92CE-41FB-BB05-BE0F5BBA1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err="1"/>
              <a:t>마이데이터</a:t>
            </a:r>
            <a:endParaRPr lang="ko-KR" altLang="en-US" dirty="0"/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B73B35C2-EB8A-4573-B037-7CC6DF06F86A}"/>
              </a:ext>
            </a:extLst>
          </p:cNvPr>
          <p:cNvGrpSpPr/>
          <p:nvPr/>
        </p:nvGrpSpPr>
        <p:grpSpPr>
          <a:xfrm>
            <a:off x="0" y="-3562"/>
            <a:ext cx="9226508" cy="6816938"/>
            <a:chOff x="-1952021" y="-3562"/>
            <a:chExt cx="9226508" cy="6816938"/>
          </a:xfrm>
        </p:grpSpPr>
        <p:cxnSp>
          <p:nvCxnSpPr>
            <p:cNvPr id="6" name="직선 연결선 5">
              <a:extLst>
                <a:ext uri="{FF2B5EF4-FFF2-40B4-BE49-F238E27FC236}">
                  <a16:creationId xmlns:a16="http://schemas.microsoft.com/office/drawing/2014/main" id="{B4C45666-B8F5-4C50-86A6-C4C0BE1D6FE0}"/>
                </a:ext>
              </a:extLst>
            </p:cNvPr>
            <p:cNvCxnSpPr>
              <a:cxnSpLocks/>
            </p:cNvCxnSpPr>
            <p:nvPr/>
          </p:nvCxnSpPr>
          <p:spPr>
            <a:xfrm>
              <a:off x="7257256" y="-3562"/>
              <a:ext cx="0" cy="6816938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직선 연결선 6">
              <a:extLst>
                <a:ext uri="{FF2B5EF4-FFF2-40B4-BE49-F238E27FC236}">
                  <a16:creationId xmlns:a16="http://schemas.microsoft.com/office/drawing/2014/main" id="{4860EB04-C536-404F-98C0-823E8ADC86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1952021" y="1563825"/>
              <a:ext cx="9226508" cy="0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0B76F625-D0A3-4C9E-8D76-BC231976DDDC}"/>
              </a:ext>
            </a:extLst>
          </p:cNvPr>
          <p:cNvGrpSpPr/>
          <p:nvPr/>
        </p:nvGrpSpPr>
        <p:grpSpPr>
          <a:xfrm>
            <a:off x="479376" y="908720"/>
            <a:ext cx="6759312" cy="338554"/>
            <a:chOff x="479376" y="-963488"/>
            <a:chExt cx="6759312" cy="338554"/>
          </a:xfrm>
        </p:grpSpPr>
        <p:sp>
          <p:nvSpPr>
            <p:cNvPr id="9" name="사각형: 둥근 모서리 8">
              <a:extLst>
                <a:ext uri="{FF2B5EF4-FFF2-40B4-BE49-F238E27FC236}">
                  <a16:creationId xmlns:a16="http://schemas.microsoft.com/office/drawing/2014/main" id="{F66EE92C-BEAA-4A28-9FFE-528E99678B1D}"/>
                </a:ext>
              </a:extLst>
            </p:cNvPr>
            <p:cNvSpPr/>
            <p:nvPr/>
          </p:nvSpPr>
          <p:spPr>
            <a:xfrm>
              <a:off x="479376" y="-946863"/>
              <a:ext cx="590358" cy="305304"/>
            </a:xfrm>
            <a:prstGeom prst="roundRect">
              <a:avLst>
                <a:gd name="adj" fmla="val 50000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>
                      <a:alpha val="50000"/>
                    </a:schemeClr>
                  </a:solidFill>
                  <a:latin typeface="+mn-ea"/>
                  <a:cs typeface="Arial" panose="020B0604020202020204" pitchFamily="34" charset="0"/>
                </a:rPr>
                <a:t>0</a:t>
              </a:r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C8869CF-0725-41FD-AE4C-2AF26212AA85}"/>
                </a:ext>
              </a:extLst>
            </p:cNvPr>
            <p:cNvSpPr txBox="1"/>
            <p:nvPr/>
          </p:nvSpPr>
          <p:spPr>
            <a:xfrm>
              <a:off x="1127448" y="-963488"/>
              <a:ext cx="6111240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R="0" indent="0" algn="just" fontAlgn="base" latinLnBrk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 sz="1600" kern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defRPr>
              </a:lvl1pPr>
            </a:lstStyle>
            <a:p>
              <a:r>
                <a:rPr lang="ko-KR" altLang="en-US" err="1"/>
                <a:t>마이데이터</a:t>
              </a:r>
              <a:r>
                <a:rPr lang="ko-KR" altLang="en-US"/>
                <a:t> 조회</a:t>
              </a:r>
              <a:r>
                <a:rPr lang="en-US" altLang="ko-KR"/>
                <a:t>– </a:t>
              </a:r>
              <a:r>
                <a:rPr lang="ko-KR" altLang="en-US"/>
                <a:t>거래명세서</a:t>
              </a:r>
              <a:endParaRPr lang="en-US" altLang="ko-KR" dirty="0"/>
            </a:p>
          </p:txBody>
        </p:sp>
      </p:grpSp>
      <p:pic>
        <p:nvPicPr>
          <p:cNvPr id="16" name="그림 15" descr="텍스트, 영수증, 스크린샷이(가) 표시된 사진&#10;&#10;자동 생성된 설명">
            <a:extLst>
              <a:ext uri="{FF2B5EF4-FFF2-40B4-BE49-F238E27FC236}">
                <a16:creationId xmlns:a16="http://schemas.microsoft.com/office/drawing/2014/main" id="{A3B6C6F2-CECD-B0AA-C056-679D76DF9D3B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2880000" y="2062800"/>
            <a:ext cx="2052000" cy="4294800"/>
          </a:xfrm>
          <a:prstGeom prst="rect">
            <a:avLst/>
          </a:prstGeom>
        </p:spPr>
      </p:pic>
      <p:grpSp>
        <p:nvGrpSpPr>
          <p:cNvPr id="17" name="그룹 16">
            <a:extLst>
              <a:ext uri="{FF2B5EF4-FFF2-40B4-BE49-F238E27FC236}">
                <a16:creationId xmlns:a16="http://schemas.microsoft.com/office/drawing/2014/main" id="{C347DDE6-9323-06B6-3DC6-98D0C3B0CAE4}"/>
              </a:ext>
            </a:extLst>
          </p:cNvPr>
          <p:cNvGrpSpPr/>
          <p:nvPr/>
        </p:nvGrpSpPr>
        <p:grpSpPr>
          <a:xfrm>
            <a:off x="9298894" y="1340768"/>
            <a:ext cx="1053082" cy="230832"/>
            <a:chOff x="7316687" y="3282664"/>
            <a:chExt cx="1053082" cy="230832"/>
          </a:xfrm>
        </p:grpSpPr>
        <p:sp>
          <p:nvSpPr>
            <p:cNvPr id="18" name="TextBox 174">
              <a:extLst>
                <a:ext uri="{FF2B5EF4-FFF2-40B4-BE49-F238E27FC236}">
                  <a16:creationId xmlns:a16="http://schemas.microsoft.com/office/drawing/2014/main" id="{ED311727-73DC-1D19-D954-9E7308FDD8F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878767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거래명세서 목록</a:t>
              </a:r>
            </a:p>
          </p:txBody>
        </p:sp>
        <p:sp>
          <p:nvSpPr>
            <p:cNvPr id="19" name="모서리가 둥근 직사각형 84">
              <a:extLst>
                <a:ext uri="{FF2B5EF4-FFF2-40B4-BE49-F238E27FC236}">
                  <a16:creationId xmlns:a16="http://schemas.microsoft.com/office/drawing/2014/main" id="{80C2B9A2-8C26-C2E5-C1D5-B77E99456D24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1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0" name="TextBox 174">
            <a:extLst>
              <a:ext uri="{FF2B5EF4-FFF2-40B4-BE49-F238E27FC236}">
                <a16:creationId xmlns:a16="http://schemas.microsoft.com/office/drawing/2014/main" id="{D5DC953F-6A93-23BF-EF6D-E9112AF649C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53543" y="1578491"/>
            <a:ext cx="2573667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거래 물품 목록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거래 금액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거래일자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grpSp>
        <p:nvGrpSpPr>
          <p:cNvPr id="21" name="그룹 20">
            <a:extLst>
              <a:ext uri="{FF2B5EF4-FFF2-40B4-BE49-F238E27FC236}">
                <a16:creationId xmlns:a16="http://schemas.microsoft.com/office/drawing/2014/main" id="{76BFD474-399A-D66D-1CE9-8ECEBC773E40}"/>
              </a:ext>
            </a:extLst>
          </p:cNvPr>
          <p:cNvGrpSpPr/>
          <p:nvPr/>
        </p:nvGrpSpPr>
        <p:grpSpPr>
          <a:xfrm>
            <a:off x="9294903" y="2239018"/>
            <a:ext cx="2002059" cy="230832"/>
            <a:chOff x="7316687" y="3338030"/>
            <a:chExt cx="2002059" cy="230832"/>
          </a:xfrm>
        </p:grpSpPr>
        <p:sp>
          <p:nvSpPr>
            <p:cNvPr id="22" name="TextBox 174">
              <a:extLst>
                <a:ext uri="{FF2B5EF4-FFF2-40B4-BE49-F238E27FC236}">
                  <a16:creationId xmlns:a16="http://schemas.microsoft.com/office/drawing/2014/main" id="{2CA71FFF-735F-4DA4-4886-6640077BEC2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338030"/>
              <a:ext cx="1827744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거래명세서 상세 화면 이동 아이콘 버튼</a:t>
              </a:r>
              <a:endPara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  <p:sp>
          <p:nvSpPr>
            <p:cNvPr id="23" name="모서리가 둥근 직사각형 84">
              <a:extLst>
                <a:ext uri="{FF2B5EF4-FFF2-40B4-BE49-F238E27FC236}">
                  <a16:creationId xmlns:a16="http://schemas.microsoft.com/office/drawing/2014/main" id="{818759C5-FC9F-AB63-7A18-03A22220B046}"/>
                </a:ext>
              </a:extLst>
            </p:cNvPr>
            <p:cNvSpPr/>
            <p:nvPr/>
          </p:nvSpPr>
          <p:spPr>
            <a:xfrm>
              <a:off x="7316687" y="3373276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2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4" name="그룹 23">
            <a:extLst>
              <a:ext uri="{FF2B5EF4-FFF2-40B4-BE49-F238E27FC236}">
                <a16:creationId xmlns:a16="http://schemas.microsoft.com/office/drawing/2014/main" id="{3E9EDD7A-C3A5-6C5C-1BB8-A4EE3F6270B9}"/>
              </a:ext>
            </a:extLst>
          </p:cNvPr>
          <p:cNvGrpSpPr/>
          <p:nvPr/>
        </p:nvGrpSpPr>
        <p:grpSpPr>
          <a:xfrm>
            <a:off x="9290224" y="2852936"/>
            <a:ext cx="1073920" cy="230832"/>
            <a:chOff x="7316687" y="3282664"/>
            <a:chExt cx="1073920" cy="230832"/>
          </a:xfrm>
        </p:grpSpPr>
        <p:sp>
          <p:nvSpPr>
            <p:cNvPr id="25" name="TextBox 174">
              <a:extLst>
                <a:ext uri="{FF2B5EF4-FFF2-40B4-BE49-F238E27FC236}">
                  <a16:creationId xmlns:a16="http://schemas.microsoft.com/office/drawing/2014/main" id="{555B4FAF-3766-7C6B-8447-1341F448B23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89960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거래 명세서 </a:t>
              </a: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상세</a:t>
              </a:r>
            </a:p>
          </p:txBody>
        </p:sp>
        <p:sp>
          <p:nvSpPr>
            <p:cNvPr id="26" name="모서리가 둥근 직사각형 84">
              <a:extLst>
                <a:ext uri="{FF2B5EF4-FFF2-40B4-BE49-F238E27FC236}">
                  <a16:creationId xmlns:a16="http://schemas.microsoft.com/office/drawing/2014/main" id="{E414D8F4-EEC6-B157-3D60-5377D442522E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3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7" name="TextBox 174">
            <a:extLst>
              <a:ext uri="{FF2B5EF4-FFF2-40B4-BE49-F238E27FC236}">
                <a16:creationId xmlns:a16="http://schemas.microsoft.com/office/drawing/2014/main" id="{89C57FDD-2361-AEBC-C949-1B7E1EF396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44873" y="3090659"/>
            <a:ext cx="2573667" cy="4078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제작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(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제작업체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제작기사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제작일자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결제금액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)</a:t>
            </a: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물품구성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(</a:t>
            </a:r>
            <a:r>
              <a:rPr lang="ko-KR" altLang="en-US" sz="900" spc="-150" dirty="0" err="1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부품명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제조회사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수량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비고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)</a:t>
            </a:r>
          </a:p>
        </p:txBody>
      </p:sp>
      <p:sp>
        <p:nvSpPr>
          <p:cNvPr id="28" name="TextBox 174">
            <a:extLst>
              <a:ext uri="{FF2B5EF4-FFF2-40B4-BE49-F238E27FC236}">
                <a16:creationId xmlns:a16="http://schemas.microsoft.com/office/drawing/2014/main" id="{FA4CD8E0-A383-9AD1-EAAF-58FB7933092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52898" y="2439035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클릭 시</a:t>
            </a:r>
            <a:r>
              <a:rPr lang="en-US" altLang="ko-Kore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거래명세서 상세 화면으로 이동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</p:txBody>
      </p:sp>
      <p:sp>
        <p:nvSpPr>
          <p:cNvPr id="29" name="모서리가 둥근 직사각형 84">
            <a:extLst>
              <a:ext uri="{FF2B5EF4-FFF2-40B4-BE49-F238E27FC236}">
                <a16:creationId xmlns:a16="http://schemas.microsoft.com/office/drawing/2014/main" id="{F9974927-AF00-DEA3-DD5F-E26C73E0167E}"/>
              </a:ext>
            </a:extLst>
          </p:cNvPr>
          <p:cNvSpPr/>
          <p:nvPr/>
        </p:nvSpPr>
        <p:spPr>
          <a:xfrm>
            <a:off x="479376" y="2667895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1</a:t>
            </a:r>
            <a:endParaRPr lang="ko-KR" altLang="en-US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30" name="모서리가 둥근 직사각형 84">
            <a:extLst>
              <a:ext uri="{FF2B5EF4-FFF2-40B4-BE49-F238E27FC236}">
                <a16:creationId xmlns:a16="http://schemas.microsoft.com/office/drawing/2014/main" id="{E5CBFA1C-19B3-BCA6-4423-049733C4E067}"/>
              </a:ext>
            </a:extLst>
          </p:cNvPr>
          <p:cNvSpPr/>
          <p:nvPr/>
        </p:nvSpPr>
        <p:spPr>
          <a:xfrm>
            <a:off x="2063552" y="2703141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2</a:t>
            </a:r>
            <a:endParaRPr lang="ko-KR" altLang="en-US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31" name="모서리가 둥근 직사각형 84">
            <a:extLst>
              <a:ext uri="{FF2B5EF4-FFF2-40B4-BE49-F238E27FC236}">
                <a16:creationId xmlns:a16="http://schemas.microsoft.com/office/drawing/2014/main" id="{93FDA31D-61D7-B279-95A6-3D68033928BC}"/>
              </a:ext>
            </a:extLst>
          </p:cNvPr>
          <p:cNvSpPr/>
          <p:nvPr/>
        </p:nvSpPr>
        <p:spPr>
          <a:xfrm>
            <a:off x="2751884" y="2572722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3</a:t>
            </a:r>
            <a:endParaRPr lang="ko-KR" altLang="en-US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3654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C5286BA-92CE-41FB-BB05-BE0F5BBA1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err="1"/>
              <a:t>마이데이터</a:t>
            </a:r>
            <a:endParaRPr lang="ko-KR" altLang="en-US" dirty="0"/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B73B35C2-EB8A-4573-B037-7CC6DF06F86A}"/>
              </a:ext>
            </a:extLst>
          </p:cNvPr>
          <p:cNvGrpSpPr/>
          <p:nvPr/>
        </p:nvGrpSpPr>
        <p:grpSpPr>
          <a:xfrm>
            <a:off x="-2637" y="0"/>
            <a:ext cx="9226508" cy="6816938"/>
            <a:chOff x="-1952021" y="-3562"/>
            <a:chExt cx="9226508" cy="6816938"/>
          </a:xfrm>
        </p:grpSpPr>
        <p:cxnSp>
          <p:nvCxnSpPr>
            <p:cNvPr id="6" name="직선 연결선 5">
              <a:extLst>
                <a:ext uri="{FF2B5EF4-FFF2-40B4-BE49-F238E27FC236}">
                  <a16:creationId xmlns:a16="http://schemas.microsoft.com/office/drawing/2014/main" id="{B4C45666-B8F5-4C50-86A6-C4C0BE1D6FE0}"/>
                </a:ext>
              </a:extLst>
            </p:cNvPr>
            <p:cNvCxnSpPr>
              <a:cxnSpLocks/>
            </p:cNvCxnSpPr>
            <p:nvPr/>
          </p:nvCxnSpPr>
          <p:spPr>
            <a:xfrm>
              <a:off x="7257256" y="-3562"/>
              <a:ext cx="0" cy="6816938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직선 연결선 6">
              <a:extLst>
                <a:ext uri="{FF2B5EF4-FFF2-40B4-BE49-F238E27FC236}">
                  <a16:creationId xmlns:a16="http://schemas.microsoft.com/office/drawing/2014/main" id="{4860EB04-C536-404F-98C0-823E8ADC86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1952021" y="1563825"/>
              <a:ext cx="9226508" cy="0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0B76F625-D0A3-4C9E-8D76-BC231976DDDC}"/>
              </a:ext>
            </a:extLst>
          </p:cNvPr>
          <p:cNvGrpSpPr/>
          <p:nvPr/>
        </p:nvGrpSpPr>
        <p:grpSpPr>
          <a:xfrm>
            <a:off x="479376" y="908720"/>
            <a:ext cx="6759312" cy="338554"/>
            <a:chOff x="479376" y="-963488"/>
            <a:chExt cx="6759312" cy="338554"/>
          </a:xfrm>
        </p:grpSpPr>
        <p:sp>
          <p:nvSpPr>
            <p:cNvPr id="9" name="사각형: 둥근 모서리 8">
              <a:extLst>
                <a:ext uri="{FF2B5EF4-FFF2-40B4-BE49-F238E27FC236}">
                  <a16:creationId xmlns:a16="http://schemas.microsoft.com/office/drawing/2014/main" id="{F66EE92C-BEAA-4A28-9FFE-528E99678B1D}"/>
                </a:ext>
              </a:extLst>
            </p:cNvPr>
            <p:cNvSpPr/>
            <p:nvPr/>
          </p:nvSpPr>
          <p:spPr>
            <a:xfrm>
              <a:off x="479376" y="-946863"/>
              <a:ext cx="590358" cy="305304"/>
            </a:xfrm>
            <a:prstGeom prst="roundRect">
              <a:avLst>
                <a:gd name="adj" fmla="val 50000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>
                      <a:alpha val="50000"/>
                    </a:schemeClr>
                  </a:solidFill>
                  <a:latin typeface="+mn-ea"/>
                  <a:cs typeface="Arial" panose="020B0604020202020204" pitchFamily="34" charset="0"/>
                </a:rPr>
                <a:t>0</a:t>
              </a:r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C8869CF-0725-41FD-AE4C-2AF26212AA85}"/>
                </a:ext>
              </a:extLst>
            </p:cNvPr>
            <p:cNvSpPr txBox="1"/>
            <p:nvPr/>
          </p:nvSpPr>
          <p:spPr>
            <a:xfrm>
              <a:off x="1127448" y="-963488"/>
              <a:ext cx="6111240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R="0" indent="0" algn="just" fontAlgn="base" latinLnBrk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 sz="1600" kern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defRPr>
              </a:lvl1pPr>
            </a:lstStyle>
            <a:p>
              <a:r>
                <a:rPr lang="ko-KR" altLang="en-US" err="1"/>
                <a:t>마이데이터</a:t>
              </a:r>
              <a:r>
                <a:rPr lang="ko-KR" altLang="en-US"/>
                <a:t> 조회</a:t>
              </a:r>
              <a:r>
                <a:rPr lang="en-US" altLang="ko-KR"/>
                <a:t>–</a:t>
              </a:r>
              <a:r>
                <a:rPr lang="ko-KR" altLang="en-US"/>
                <a:t>검진</a:t>
              </a:r>
              <a:r>
                <a:rPr lang="en-US" altLang="ko-KR" dirty="0"/>
                <a:t>/</a:t>
              </a:r>
              <a:r>
                <a:rPr lang="ko-KR" altLang="en-US"/>
                <a:t>검사 데이터</a:t>
              </a:r>
              <a:endParaRPr lang="en-US" altLang="ko-KR" dirty="0"/>
            </a:p>
          </p:txBody>
        </p:sp>
      </p:grpSp>
      <p:pic>
        <p:nvPicPr>
          <p:cNvPr id="11" name="그림 10" descr="텍스트, 폰트, 번호, 소프트웨어이(가) 표시된 사진&#10;&#10;자동 생성된 설명">
            <a:extLst>
              <a:ext uri="{FF2B5EF4-FFF2-40B4-BE49-F238E27FC236}">
                <a16:creationId xmlns:a16="http://schemas.microsoft.com/office/drawing/2014/main" id="{40C1BDE8-2DAE-B5F5-C36D-D9FB52446257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597600" y="2062800"/>
            <a:ext cx="2052000" cy="4294800"/>
          </a:xfrm>
          <a:prstGeom prst="rect">
            <a:avLst/>
          </a:prstGeom>
        </p:spPr>
      </p:pic>
      <p:pic>
        <p:nvPicPr>
          <p:cNvPr id="15" name="그림 14" descr="텍스트, 스크린샷이(가) 표시된 사진&#10;&#10;자동 생성된 설명">
            <a:extLst>
              <a:ext uri="{FF2B5EF4-FFF2-40B4-BE49-F238E27FC236}">
                <a16:creationId xmlns:a16="http://schemas.microsoft.com/office/drawing/2014/main" id="{DCBE5402-6AD5-FABD-5EAA-3822B037C8EB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2793600" y="2062800"/>
            <a:ext cx="2052000" cy="4294800"/>
          </a:xfrm>
          <a:prstGeom prst="rect">
            <a:avLst/>
          </a:prstGeom>
        </p:spPr>
      </p:pic>
      <p:grpSp>
        <p:nvGrpSpPr>
          <p:cNvPr id="3" name="그룹 2">
            <a:extLst>
              <a:ext uri="{FF2B5EF4-FFF2-40B4-BE49-F238E27FC236}">
                <a16:creationId xmlns:a16="http://schemas.microsoft.com/office/drawing/2014/main" id="{129CE404-5ED7-B36A-F2D0-ADE3E6611C2D}"/>
              </a:ext>
            </a:extLst>
          </p:cNvPr>
          <p:cNvGrpSpPr/>
          <p:nvPr/>
        </p:nvGrpSpPr>
        <p:grpSpPr>
          <a:xfrm>
            <a:off x="9298894" y="1340768"/>
            <a:ext cx="1298341" cy="230832"/>
            <a:chOff x="7316687" y="3282664"/>
            <a:chExt cx="1298341" cy="230832"/>
          </a:xfrm>
        </p:grpSpPr>
        <p:sp>
          <p:nvSpPr>
            <p:cNvPr id="4" name="TextBox 174">
              <a:extLst>
                <a:ext uri="{FF2B5EF4-FFF2-40B4-BE49-F238E27FC236}">
                  <a16:creationId xmlns:a16="http://schemas.microsoft.com/office/drawing/2014/main" id="{47513D31-967A-420C-3B30-09732C87DC6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1124026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검진</a:t>
              </a:r>
              <a:r>
                <a:rPr lang="en-US" altLang="ko-KR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/</a:t>
              </a: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검사 데이터 목록</a:t>
              </a:r>
            </a:p>
          </p:txBody>
        </p:sp>
        <p:sp>
          <p:nvSpPr>
            <p:cNvPr id="14" name="모서리가 둥근 직사각형 84">
              <a:extLst>
                <a:ext uri="{FF2B5EF4-FFF2-40B4-BE49-F238E27FC236}">
                  <a16:creationId xmlns:a16="http://schemas.microsoft.com/office/drawing/2014/main" id="{76FEE6B1-77AD-FF43-56EF-12CC134DA696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1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16" name="TextBox 174">
            <a:extLst>
              <a:ext uri="{FF2B5EF4-FFF2-40B4-BE49-F238E27FC236}">
                <a16:creationId xmlns:a16="http://schemas.microsoft.com/office/drawing/2014/main" id="{92D9F4D1-4633-06EC-121C-8E30E503012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53543" y="1578491"/>
            <a:ext cx="2573667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일련번호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장애유무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통증부위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grpSp>
        <p:nvGrpSpPr>
          <p:cNvPr id="21" name="그룹 20">
            <a:extLst>
              <a:ext uri="{FF2B5EF4-FFF2-40B4-BE49-F238E27FC236}">
                <a16:creationId xmlns:a16="http://schemas.microsoft.com/office/drawing/2014/main" id="{3E5FC97A-F767-8406-0137-BB129E6C4F23}"/>
              </a:ext>
            </a:extLst>
          </p:cNvPr>
          <p:cNvGrpSpPr/>
          <p:nvPr/>
        </p:nvGrpSpPr>
        <p:grpSpPr>
          <a:xfrm>
            <a:off x="9293626" y="2852936"/>
            <a:ext cx="1703901" cy="230832"/>
            <a:chOff x="7316687" y="3282664"/>
            <a:chExt cx="1703901" cy="230832"/>
          </a:xfrm>
        </p:grpSpPr>
        <p:sp>
          <p:nvSpPr>
            <p:cNvPr id="22" name="TextBox 174">
              <a:extLst>
                <a:ext uri="{FF2B5EF4-FFF2-40B4-BE49-F238E27FC236}">
                  <a16:creationId xmlns:a16="http://schemas.microsoft.com/office/drawing/2014/main" id="{C109D01D-5CE7-33C8-4218-9F3C5ADC63A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1529586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검진</a:t>
              </a:r>
              <a:r>
                <a:rPr lang="en-US" altLang="ko-KR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/</a:t>
              </a: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검사 데이터 </a:t>
              </a: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갱신하기 버튼</a:t>
              </a:r>
            </a:p>
          </p:txBody>
        </p:sp>
        <p:sp>
          <p:nvSpPr>
            <p:cNvPr id="23" name="모서리가 둥근 직사각형 84">
              <a:extLst>
                <a:ext uri="{FF2B5EF4-FFF2-40B4-BE49-F238E27FC236}">
                  <a16:creationId xmlns:a16="http://schemas.microsoft.com/office/drawing/2014/main" id="{45F6C901-F3CF-97B8-1C8B-00DE6E1AEB9A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3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4" name="TextBox 174">
            <a:extLst>
              <a:ext uri="{FF2B5EF4-FFF2-40B4-BE49-F238E27FC236}">
                <a16:creationId xmlns:a16="http://schemas.microsoft.com/office/drawing/2014/main" id="{1BC7A8A6-1FB8-8957-A858-81E615DCF58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54398" y="3073223"/>
            <a:ext cx="257366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검진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/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검사 데이터 갱신을 위한 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[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본인인증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]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화면으로 이동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</p:txBody>
      </p:sp>
      <p:grpSp>
        <p:nvGrpSpPr>
          <p:cNvPr id="37" name="그룹 36">
            <a:extLst>
              <a:ext uri="{FF2B5EF4-FFF2-40B4-BE49-F238E27FC236}">
                <a16:creationId xmlns:a16="http://schemas.microsoft.com/office/drawing/2014/main" id="{BE3878BE-54B0-27E8-FE10-57F7592593F8}"/>
              </a:ext>
            </a:extLst>
          </p:cNvPr>
          <p:cNvGrpSpPr/>
          <p:nvPr/>
        </p:nvGrpSpPr>
        <p:grpSpPr>
          <a:xfrm>
            <a:off x="9294903" y="2239018"/>
            <a:ext cx="2034120" cy="230832"/>
            <a:chOff x="7316687" y="3338030"/>
            <a:chExt cx="2034120" cy="230832"/>
          </a:xfrm>
        </p:grpSpPr>
        <p:sp>
          <p:nvSpPr>
            <p:cNvPr id="38" name="TextBox 174">
              <a:extLst>
                <a:ext uri="{FF2B5EF4-FFF2-40B4-BE49-F238E27FC236}">
                  <a16:creationId xmlns:a16="http://schemas.microsoft.com/office/drawing/2014/main" id="{D7258B6F-3E02-2755-425F-EDB13FF2EC5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338030"/>
              <a:ext cx="185980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검진</a:t>
              </a:r>
              <a:r>
                <a:rPr lang="en-US" altLang="ko-KR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/</a:t>
              </a: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검사 데이터 상세 시트 표출 아이콘</a:t>
              </a:r>
              <a:endPara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  <p:sp>
          <p:nvSpPr>
            <p:cNvPr id="39" name="모서리가 둥근 직사각형 84">
              <a:extLst>
                <a:ext uri="{FF2B5EF4-FFF2-40B4-BE49-F238E27FC236}">
                  <a16:creationId xmlns:a16="http://schemas.microsoft.com/office/drawing/2014/main" id="{8366148D-52BB-2051-3F25-0AE555063C70}"/>
                </a:ext>
              </a:extLst>
            </p:cNvPr>
            <p:cNvSpPr/>
            <p:nvPr/>
          </p:nvSpPr>
          <p:spPr>
            <a:xfrm>
              <a:off x="7316687" y="3373276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2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40" name="모서리가 둥근 직사각형 84">
            <a:extLst>
              <a:ext uri="{FF2B5EF4-FFF2-40B4-BE49-F238E27FC236}">
                <a16:creationId xmlns:a16="http://schemas.microsoft.com/office/drawing/2014/main" id="{A3A7B5D8-5EC1-6960-C6E4-65F08E3C95D2}"/>
              </a:ext>
            </a:extLst>
          </p:cNvPr>
          <p:cNvSpPr/>
          <p:nvPr/>
        </p:nvSpPr>
        <p:spPr>
          <a:xfrm>
            <a:off x="519470" y="2674649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1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41" name="모서리가 둥근 직사각형 84">
            <a:extLst>
              <a:ext uri="{FF2B5EF4-FFF2-40B4-BE49-F238E27FC236}">
                <a16:creationId xmlns:a16="http://schemas.microsoft.com/office/drawing/2014/main" id="{15280648-8304-719E-8C11-054DB6F614EB}"/>
              </a:ext>
            </a:extLst>
          </p:cNvPr>
          <p:cNvSpPr/>
          <p:nvPr/>
        </p:nvSpPr>
        <p:spPr>
          <a:xfrm>
            <a:off x="2063552" y="2760204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2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42" name="모서리가 둥근 직사각형 84">
            <a:extLst>
              <a:ext uri="{FF2B5EF4-FFF2-40B4-BE49-F238E27FC236}">
                <a16:creationId xmlns:a16="http://schemas.microsoft.com/office/drawing/2014/main" id="{BBFE2F1B-7EE7-FDF1-8903-FE2AAABD406C}"/>
              </a:ext>
            </a:extLst>
          </p:cNvPr>
          <p:cNvSpPr/>
          <p:nvPr/>
        </p:nvSpPr>
        <p:spPr>
          <a:xfrm>
            <a:off x="450005" y="5980263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3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44" name="모서리가 둥근 직사각형 84">
            <a:extLst>
              <a:ext uri="{FF2B5EF4-FFF2-40B4-BE49-F238E27FC236}">
                <a16:creationId xmlns:a16="http://schemas.microsoft.com/office/drawing/2014/main" id="{B18B38D4-1F8A-CC48-7492-F7A35676E3CE}"/>
              </a:ext>
            </a:extLst>
          </p:cNvPr>
          <p:cNvSpPr/>
          <p:nvPr/>
        </p:nvSpPr>
        <p:spPr>
          <a:xfrm>
            <a:off x="2641847" y="3177931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4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grpSp>
        <p:nvGrpSpPr>
          <p:cNvPr id="45" name="그룹 44">
            <a:extLst>
              <a:ext uri="{FF2B5EF4-FFF2-40B4-BE49-F238E27FC236}">
                <a16:creationId xmlns:a16="http://schemas.microsoft.com/office/drawing/2014/main" id="{34006116-C450-6A08-4DA5-CAA9634AA7CC}"/>
              </a:ext>
            </a:extLst>
          </p:cNvPr>
          <p:cNvGrpSpPr/>
          <p:nvPr/>
        </p:nvGrpSpPr>
        <p:grpSpPr>
          <a:xfrm>
            <a:off x="9290224" y="3611145"/>
            <a:ext cx="1703901" cy="230832"/>
            <a:chOff x="7316687" y="3282664"/>
            <a:chExt cx="1703901" cy="230832"/>
          </a:xfrm>
        </p:grpSpPr>
        <p:sp>
          <p:nvSpPr>
            <p:cNvPr id="46" name="TextBox 174">
              <a:extLst>
                <a:ext uri="{FF2B5EF4-FFF2-40B4-BE49-F238E27FC236}">
                  <a16:creationId xmlns:a16="http://schemas.microsoft.com/office/drawing/2014/main" id="{69940BFD-98F9-6C23-79DA-AA3BEECDEF8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1529586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검진</a:t>
              </a:r>
              <a:r>
                <a:rPr lang="en-US" altLang="ko-KR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/</a:t>
              </a: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검사 데이터</a:t>
              </a: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 상세보기 </a:t>
              </a: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시트</a:t>
              </a:r>
              <a:endPara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  <p:sp>
          <p:nvSpPr>
            <p:cNvPr id="47" name="모서리가 둥근 직사각형 84">
              <a:extLst>
                <a:ext uri="{FF2B5EF4-FFF2-40B4-BE49-F238E27FC236}">
                  <a16:creationId xmlns:a16="http://schemas.microsoft.com/office/drawing/2014/main" id="{4A8C7475-A5F7-284B-6E49-9A0178A36B43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4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48" name="TextBox 174">
            <a:extLst>
              <a:ext uri="{FF2B5EF4-FFF2-40B4-BE49-F238E27FC236}">
                <a16:creationId xmlns:a16="http://schemas.microsoft.com/office/drawing/2014/main" id="{4CCFCD75-7B8E-901E-2E59-498D0183070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44873" y="3848868"/>
            <a:ext cx="2573667" cy="1138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검진 데이터 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(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성명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나이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키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몸무게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장애 유무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통증부위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ko-KR" altLang="en-US" sz="900" spc="-150" dirty="0" err="1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깔창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제작 공법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보폭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보행 특징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)</a:t>
            </a: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검사 데이터 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-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발 스캔 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(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길이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ko-KR" altLang="en-US" sz="900" spc="-150" dirty="0" err="1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볼둘레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ko-KR" altLang="en-US" sz="900" spc="-150" dirty="0" err="1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등둘레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뒤꿈치 높이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안쪽 복사 높이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ko-KR" altLang="en-US" sz="900" spc="-150" dirty="0" err="1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가쪽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복사 높이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발목 수평 둘레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엄지발가락 각도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아치 높이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)</a:t>
            </a: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검사 데이터 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- </a:t>
            </a:r>
            <a:r>
              <a:rPr lang="ko-KR" altLang="en-US" sz="900" spc="-150" dirty="0" err="1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근골격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불균형 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(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전면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측면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후면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신체 균형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편차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)</a:t>
            </a:r>
          </a:p>
        </p:txBody>
      </p:sp>
      <p:sp>
        <p:nvSpPr>
          <p:cNvPr id="49" name="TextBox 174">
            <a:extLst>
              <a:ext uri="{FF2B5EF4-FFF2-40B4-BE49-F238E27FC236}">
                <a16:creationId xmlns:a16="http://schemas.microsoft.com/office/drawing/2014/main" id="{710035D8-CA2D-E001-099B-A1BAD83A0B7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52898" y="2439035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클릭 시</a:t>
            </a:r>
            <a:r>
              <a:rPr lang="en-US" altLang="ko-Kore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 </a:t>
            </a: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검진</a:t>
            </a:r>
            <a:r>
              <a:rPr lang="en-US" altLang="ko-Kore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/</a:t>
            </a: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검사 데이터 상세 시트 표출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6169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>
            <a:extLst>
              <a:ext uri="{FF2B5EF4-FFF2-40B4-BE49-F238E27FC236}">
                <a16:creationId xmlns:a16="http://schemas.microsoft.com/office/drawing/2014/main" id="{85177389-8B90-48C1-9052-EC3AAD5498CA}"/>
              </a:ext>
            </a:extLst>
          </p:cNvPr>
          <p:cNvSpPr/>
          <p:nvPr/>
        </p:nvSpPr>
        <p:spPr>
          <a:xfrm>
            <a:off x="2761604" y="2423187"/>
            <a:ext cx="1241681" cy="2449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200" dirty="0">
                <a:ln>
                  <a:solidFill>
                    <a:srgbClr val="4472C4">
                      <a:alpha val="0"/>
                    </a:srgbClr>
                  </a:solidFill>
                </a:ln>
                <a:solidFill>
                  <a:prstClr val="white"/>
                </a:solidFill>
                <a:latin typeface="Arial" panose="020B0604020202020204" pitchFamily="34" charset="0"/>
                <a:ea typeface="나눔바른고딕" panose="020B0603020101020101" pitchFamily="50" charset="-127"/>
                <a:cs typeface="Arial" panose="020B0604020202020204" pitchFamily="34" charset="0"/>
              </a:rPr>
              <a:t>CHAPTER</a:t>
            </a:r>
            <a:endParaRPr kumimoji="1" lang="ko-KR" altLang="en-US" sz="1200" dirty="0">
              <a:ln>
                <a:solidFill>
                  <a:srgbClr val="4472C4">
                    <a:alpha val="0"/>
                  </a:srgbClr>
                </a:solidFill>
              </a:ln>
              <a:solidFill>
                <a:prstClr val="white"/>
              </a:solidFill>
              <a:latin typeface="Arial" panose="020B0604020202020204" pitchFamily="34" charset="0"/>
              <a:ea typeface="나눔바른고딕" panose="020B0603020101020101" pitchFamily="50" charset="-127"/>
              <a:cs typeface="Arial" panose="020B0604020202020204" pitchFamily="34" charset="0"/>
            </a:endParaRPr>
          </a:p>
        </p:txBody>
      </p:sp>
      <p:sp>
        <p:nvSpPr>
          <p:cNvPr id="2" name="제목 1">
            <a:extLst>
              <a:ext uri="{FF2B5EF4-FFF2-40B4-BE49-F238E27FC236}">
                <a16:creationId xmlns:a16="http://schemas.microsoft.com/office/drawing/2014/main" id="{F1209795-8BEE-49C3-9193-5FCEA24420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888" y="2624549"/>
            <a:ext cx="6696744" cy="1608902"/>
          </a:xfrm>
        </p:spPr>
        <p:txBody>
          <a:bodyPr/>
          <a:lstStyle/>
          <a:p>
            <a:r>
              <a:rPr lang="ko-KR" altLang="en-US"/>
              <a:t>재활보조기구 이용자 </a:t>
            </a:r>
            <a:br>
              <a:rPr lang="en-US" altLang="ko-KR"/>
            </a:br>
            <a:r>
              <a:rPr lang="ko-KR" altLang="en-US"/>
              <a:t>모바일 앱</a:t>
            </a:r>
          </a:p>
        </p:txBody>
      </p:sp>
    </p:spTree>
    <p:extLst>
      <p:ext uri="{BB962C8B-B14F-4D97-AF65-F5344CB8AC3E}">
        <p14:creationId xmlns:p14="http://schemas.microsoft.com/office/powerpoint/2010/main" val="387769974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C5286BA-92CE-41FB-BB05-BE0F5BBA1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err="1"/>
              <a:t>마이데이터</a:t>
            </a:r>
            <a:endParaRPr lang="ko-KR" altLang="en-US" dirty="0"/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B73B35C2-EB8A-4573-B037-7CC6DF06F86A}"/>
              </a:ext>
            </a:extLst>
          </p:cNvPr>
          <p:cNvGrpSpPr/>
          <p:nvPr/>
        </p:nvGrpSpPr>
        <p:grpSpPr>
          <a:xfrm>
            <a:off x="0" y="-3562"/>
            <a:ext cx="9226508" cy="6816938"/>
            <a:chOff x="-1952021" y="-3562"/>
            <a:chExt cx="9226508" cy="6816938"/>
          </a:xfrm>
        </p:grpSpPr>
        <p:cxnSp>
          <p:nvCxnSpPr>
            <p:cNvPr id="6" name="직선 연결선 5">
              <a:extLst>
                <a:ext uri="{FF2B5EF4-FFF2-40B4-BE49-F238E27FC236}">
                  <a16:creationId xmlns:a16="http://schemas.microsoft.com/office/drawing/2014/main" id="{B4C45666-B8F5-4C50-86A6-C4C0BE1D6FE0}"/>
                </a:ext>
              </a:extLst>
            </p:cNvPr>
            <p:cNvCxnSpPr>
              <a:cxnSpLocks/>
            </p:cNvCxnSpPr>
            <p:nvPr/>
          </p:nvCxnSpPr>
          <p:spPr>
            <a:xfrm>
              <a:off x="7257256" y="-3562"/>
              <a:ext cx="0" cy="6816938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직선 연결선 6">
              <a:extLst>
                <a:ext uri="{FF2B5EF4-FFF2-40B4-BE49-F238E27FC236}">
                  <a16:creationId xmlns:a16="http://schemas.microsoft.com/office/drawing/2014/main" id="{4860EB04-C536-404F-98C0-823E8ADC86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1952021" y="1563825"/>
              <a:ext cx="9226508" cy="0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0B76F625-D0A3-4C9E-8D76-BC231976DDDC}"/>
              </a:ext>
            </a:extLst>
          </p:cNvPr>
          <p:cNvGrpSpPr/>
          <p:nvPr/>
        </p:nvGrpSpPr>
        <p:grpSpPr>
          <a:xfrm>
            <a:off x="479376" y="908720"/>
            <a:ext cx="6759312" cy="338554"/>
            <a:chOff x="479376" y="-963488"/>
            <a:chExt cx="6759312" cy="338554"/>
          </a:xfrm>
        </p:grpSpPr>
        <p:sp>
          <p:nvSpPr>
            <p:cNvPr id="9" name="사각형: 둥근 모서리 8">
              <a:extLst>
                <a:ext uri="{FF2B5EF4-FFF2-40B4-BE49-F238E27FC236}">
                  <a16:creationId xmlns:a16="http://schemas.microsoft.com/office/drawing/2014/main" id="{F66EE92C-BEAA-4A28-9FFE-528E99678B1D}"/>
                </a:ext>
              </a:extLst>
            </p:cNvPr>
            <p:cNvSpPr/>
            <p:nvPr/>
          </p:nvSpPr>
          <p:spPr>
            <a:xfrm>
              <a:off x="479376" y="-946863"/>
              <a:ext cx="590358" cy="305304"/>
            </a:xfrm>
            <a:prstGeom prst="roundRect">
              <a:avLst>
                <a:gd name="adj" fmla="val 50000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>
                      <a:alpha val="50000"/>
                    </a:schemeClr>
                  </a:solidFill>
                  <a:latin typeface="+mn-ea"/>
                  <a:cs typeface="Arial" panose="020B0604020202020204" pitchFamily="34" charset="0"/>
                </a:rPr>
                <a:t>0</a:t>
              </a:r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C8869CF-0725-41FD-AE4C-2AF26212AA85}"/>
                </a:ext>
              </a:extLst>
            </p:cNvPr>
            <p:cNvSpPr txBox="1"/>
            <p:nvPr/>
          </p:nvSpPr>
          <p:spPr>
            <a:xfrm>
              <a:off x="1127448" y="-963488"/>
              <a:ext cx="6111240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R="0" indent="0" algn="just" fontAlgn="base" latinLnBrk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 sz="1600" kern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defRPr>
              </a:lvl1pPr>
            </a:lstStyle>
            <a:p>
              <a:r>
                <a:rPr lang="ko-KR" altLang="en-US" err="1"/>
                <a:t>마이데이터</a:t>
              </a:r>
              <a:r>
                <a:rPr lang="ko-KR" altLang="en-US"/>
                <a:t> 조회</a:t>
              </a:r>
              <a:r>
                <a:rPr lang="en-US" altLang="ko-KR"/>
                <a:t>– </a:t>
              </a:r>
              <a:r>
                <a:rPr lang="ko-KR" altLang="en-US"/>
                <a:t>장애인등록증</a:t>
              </a:r>
              <a:endParaRPr lang="en-US" altLang="ko-KR" dirty="0"/>
            </a:p>
          </p:txBody>
        </p:sp>
      </p:grpSp>
      <p:grpSp>
        <p:nvGrpSpPr>
          <p:cNvPr id="4" name="그룹 3">
            <a:extLst>
              <a:ext uri="{FF2B5EF4-FFF2-40B4-BE49-F238E27FC236}">
                <a16:creationId xmlns:a16="http://schemas.microsoft.com/office/drawing/2014/main" id="{7C152F9F-68F5-B217-E62F-ED4E2CE8BADA}"/>
              </a:ext>
            </a:extLst>
          </p:cNvPr>
          <p:cNvGrpSpPr/>
          <p:nvPr/>
        </p:nvGrpSpPr>
        <p:grpSpPr>
          <a:xfrm>
            <a:off x="9290224" y="1196752"/>
            <a:ext cx="956902" cy="230832"/>
            <a:chOff x="7316687" y="3282664"/>
            <a:chExt cx="956902" cy="230832"/>
          </a:xfrm>
        </p:grpSpPr>
        <p:sp>
          <p:nvSpPr>
            <p:cNvPr id="11" name="TextBox 174">
              <a:extLst>
                <a:ext uri="{FF2B5EF4-FFF2-40B4-BE49-F238E27FC236}">
                  <a16:creationId xmlns:a16="http://schemas.microsoft.com/office/drawing/2014/main" id="{E4D384F2-3A42-1E0D-6917-4B4284810FB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782587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장애인 등록증</a:t>
              </a:r>
            </a:p>
          </p:txBody>
        </p:sp>
        <p:sp>
          <p:nvSpPr>
            <p:cNvPr id="12" name="모서리가 둥근 직사각형 84">
              <a:extLst>
                <a:ext uri="{FF2B5EF4-FFF2-40B4-BE49-F238E27FC236}">
                  <a16:creationId xmlns:a16="http://schemas.microsoft.com/office/drawing/2014/main" id="{D671B466-F52D-29A4-E683-A8A202A05E36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1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15" name="TextBox 174">
            <a:extLst>
              <a:ext uri="{FF2B5EF4-FFF2-40B4-BE49-F238E27FC236}">
                <a16:creationId xmlns:a16="http://schemas.microsoft.com/office/drawing/2014/main" id="{35399403-4F58-F3C5-B9E6-BC8D3AD3F44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44873" y="1434475"/>
            <a:ext cx="2573667" cy="16466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3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이름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3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등록번호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3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연락처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3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자격 획득일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3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보호자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3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주장애 및 장애 정도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3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장애 정도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3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주소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3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최초재취득 등록 일자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pic>
        <p:nvPicPr>
          <p:cNvPr id="18" name="그림 17" descr="텍스트, 스크린샷, 소프트웨어, 번호이(가) 표시된 사진&#10;&#10;자동 생성된 설명">
            <a:extLst>
              <a:ext uri="{FF2B5EF4-FFF2-40B4-BE49-F238E27FC236}">
                <a16:creationId xmlns:a16="http://schemas.microsoft.com/office/drawing/2014/main" id="{FDB34997-9E1F-0F52-07BA-A4FA8F8D1F37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597600" y="2062800"/>
            <a:ext cx="2052000" cy="4294800"/>
          </a:xfrm>
          <a:prstGeom prst="rect">
            <a:avLst/>
          </a:prstGeom>
        </p:spPr>
      </p:pic>
      <p:sp>
        <p:nvSpPr>
          <p:cNvPr id="19" name="모서리가 둥근 직사각형 84">
            <a:extLst>
              <a:ext uri="{FF2B5EF4-FFF2-40B4-BE49-F238E27FC236}">
                <a16:creationId xmlns:a16="http://schemas.microsoft.com/office/drawing/2014/main" id="{FD30078F-9A33-1AEB-703F-07FD4FC8F701}"/>
              </a:ext>
            </a:extLst>
          </p:cNvPr>
          <p:cNvSpPr/>
          <p:nvPr/>
        </p:nvSpPr>
        <p:spPr>
          <a:xfrm>
            <a:off x="464867" y="2055817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1</a:t>
            </a:r>
            <a:endParaRPr lang="ko-KR" altLang="en-US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8400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그림 10">
            <a:extLst>
              <a:ext uri="{FF2B5EF4-FFF2-40B4-BE49-F238E27FC236}">
                <a16:creationId xmlns:a16="http://schemas.microsoft.com/office/drawing/2014/main" id="{8CCC46C3-A49C-CEA4-988D-38862F1D4183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597600" y="2062800"/>
            <a:ext cx="2052000" cy="4294800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sp>
        <p:nvSpPr>
          <p:cNvPr id="2" name="제목 1">
            <a:extLst>
              <a:ext uri="{FF2B5EF4-FFF2-40B4-BE49-F238E27FC236}">
                <a16:creationId xmlns:a16="http://schemas.microsoft.com/office/drawing/2014/main" id="{0C5286BA-92CE-41FB-BB05-BE0F5BBA1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err="1"/>
              <a:t>마이데이터</a:t>
            </a:r>
            <a:endParaRPr lang="ko-KR" altLang="en-US" dirty="0"/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B73B35C2-EB8A-4573-B037-7CC6DF06F86A}"/>
              </a:ext>
            </a:extLst>
          </p:cNvPr>
          <p:cNvGrpSpPr/>
          <p:nvPr/>
        </p:nvGrpSpPr>
        <p:grpSpPr>
          <a:xfrm>
            <a:off x="0" y="-3562"/>
            <a:ext cx="9226508" cy="6816938"/>
            <a:chOff x="-1952021" y="-3562"/>
            <a:chExt cx="9226508" cy="6816938"/>
          </a:xfrm>
        </p:grpSpPr>
        <p:cxnSp>
          <p:nvCxnSpPr>
            <p:cNvPr id="6" name="직선 연결선 5">
              <a:extLst>
                <a:ext uri="{FF2B5EF4-FFF2-40B4-BE49-F238E27FC236}">
                  <a16:creationId xmlns:a16="http://schemas.microsoft.com/office/drawing/2014/main" id="{B4C45666-B8F5-4C50-86A6-C4C0BE1D6FE0}"/>
                </a:ext>
              </a:extLst>
            </p:cNvPr>
            <p:cNvCxnSpPr>
              <a:cxnSpLocks/>
            </p:cNvCxnSpPr>
            <p:nvPr/>
          </p:nvCxnSpPr>
          <p:spPr>
            <a:xfrm>
              <a:off x="7257256" y="-3562"/>
              <a:ext cx="0" cy="6816938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직선 연결선 6">
              <a:extLst>
                <a:ext uri="{FF2B5EF4-FFF2-40B4-BE49-F238E27FC236}">
                  <a16:creationId xmlns:a16="http://schemas.microsoft.com/office/drawing/2014/main" id="{4860EB04-C536-404F-98C0-823E8ADC86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1952021" y="1563825"/>
              <a:ext cx="9226508" cy="0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0B76F625-D0A3-4C9E-8D76-BC231976DDDC}"/>
              </a:ext>
            </a:extLst>
          </p:cNvPr>
          <p:cNvGrpSpPr/>
          <p:nvPr/>
        </p:nvGrpSpPr>
        <p:grpSpPr>
          <a:xfrm>
            <a:off x="479376" y="908720"/>
            <a:ext cx="6759312" cy="338554"/>
            <a:chOff x="479376" y="-963488"/>
            <a:chExt cx="6759312" cy="338554"/>
          </a:xfrm>
        </p:grpSpPr>
        <p:sp>
          <p:nvSpPr>
            <p:cNvPr id="9" name="사각형: 둥근 모서리 8">
              <a:extLst>
                <a:ext uri="{FF2B5EF4-FFF2-40B4-BE49-F238E27FC236}">
                  <a16:creationId xmlns:a16="http://schemas.microsoft.com/office/drawing/2014/main" id="{F66EE92C-BEAA-4A28-9FFE-528E99678B1D}"/>
                </a:ext>
              </a:extLst>
            </p:cNvPr>
            <p:cNvSpPr/>
            <p:nvPr/>
          </p:nvSpPr>
          <p:spPr>
            <a:xfrm>
              <a:off x="479376" y="-946863"/>
              <a:ext cx="590358" cy="305304"/>
            </a:xfrm>
            <a:prstGeom prst="roundRect">
              <a:avLst>
                <a:gd name="adj" fmla="val 50000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>
                      <a:alpha val="50000"/>
                    </a:schemeClr>
                  </a:solidFill>
                  <a:latin typeface="+mn-ea"/>
                  <a:cs typeface="Arial" panose="020B0604020202020204" pitchFamily="34" charset="0"/>
                </a:rPr>
                <a:t>0</a:t>
              </a:r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C8869CF-0725-41FD-AE4C-2AF26212AA85}"/>
                </a:ext>
              </a:extLst>
            </p:cNvPr>
            <p:cNvSpPr txBox="1"/>
            <p:nvPr/>
          </p:nvSpPr>
          <p:spPr>
            <a:xfrm>
              <a:off x="1127448" y="-963488"/>
              <a:ext cx="6111240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R="0" indent="0" algn="just" fontAlgn="base" latinLnBrk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 sz="1600" kern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defRPr>
              </a:lvl1pPr>
            </a:lstStyle>
            <a:p>
              <a:r>
                <a:rPr lang="ko-KR" altLang="en-US" err="1"/>
                <a:t>마이데이터</a:t>
              </a:r>
              <a:r>
                <a:rPr lang="ko-KR" altLang="en-US"/>
                <a:t> 조회</a:t>
              </a:r>
              <a:r>
                <a:rPr lang="en-US" altLang="ko-KR" dirty="0"/>
                <a:t>– </a:t>
              </a:r>
              <a:r>
                <a:rPr lang="ko-KR" altLang="en-US" dirty="0"/>
                <a:t>혈당 </a:t>
              </a:r>
              <a:r>
                <a:rPr lang="ko-KR" altLang="en-US"/>
                <a:t>측정 데이터</a:t>
              </a:r>
              <a:endParaRPr lang="en-US" altLang="ko-KR" dirty="0"/>
            </a:p>
          </p:txBody>
        </p:sp>
      </p:grpSp>
      <p:pic>
        <p:nvPicPr>
          <p:cNvPr id="16" name="그림 15" descr="텍스트, 스크린샷, 폰트, 영수증이(가) 표시된 사진&#10;&#10;자동 생성된 설명">
            <a:extLst>
              <a:ext uri="{FF2B5EF4-FFF2-40B4-BE49-F238E27FC236}">
                <a16:creationId xmlns:a16="http://schemas.microsoft.com/office/drawing/2014/main" id="{FEF87A9B-E2B0-1168-477A-D5E6F48D2858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2880000" y="2062800"/>
            <a:ext cx="2052000" cy="4294800"/>
          </a:xfrm>
          <a:prstGeom prst="rect">
            <a:avLst/>
          </a:prstGeom>
        </p:spPr>
      </p:pic>
      <p:grpSp>
        <p:nvGrpSpPr>
          <p:cNvPr id="3" name="그룹 2">
            <a:extLst>
              <a:ext uri="{FF2B5EF4-FFF2-40B4-BE49-F238E27FC236}">
                <a16:creationId xmlns:a16="http://schemas.microsoft.com/office/drawing/2014/main" id="{4A1BEDE6-2101-F2C1-FFA4-3B79DF308CBF}"/>
              </a:ext>
            </a:extLst>
          </p:cNvPr>
          <p:cNvGrpSpPr/>
          <p:nvPr/>
        </p:nvGrpSpPr>
        <p:grpSpPr>
          <a:xfrm>
            <a:off x="9291190" y="1268760"/>
            <a:ext cx="1287120" cy="230832"/>
            <a:chOff x="7316687" y="3282664"/>
            <a:chExt cx="1287120" cy="230832"/>
          </a:xfrm>
        </p:grpSpPr>
        <p:sp>
          <p:nvSpPr>
            <p:cNvPr id="13" name="TextBox 174">
              <a:extLst>
                <a:ext uri="{FF2B5EF4-FFF2-40B4-BE49-F238E27FC236}">
                  <a16:creationId xmlns:a16="http://schemas.microsoft.com/office/drawing/2014/main" id="{E9302B52-18B9-5235-3D1A-59FA42F9FC3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111280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혈당 측정 </a:t>
              </a:r>
              <a:r>
                <a:rPr lang="ko-KR" altLang="en-US" sz="900" b="1" spc="-150" dirty="0" err="1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데아터</a:t>
              </a: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 조회</a:t>
              </a:r>
              <a:endPara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  <p:sp>
          <p:nvSpPr>
            <p:cNvPr id="14" name="모서리가 둥근 직사각형 84">
              <a:extLst>
                <a:ext uri="{FF2B5EF4-FFF2-40B4-BE49-F238E27FC236}">
                  <a16:creationId xmlns:a16="http://schemas.microsoft.com/office/drawing/2014/main" id="{AD77A556-138C-EB1F-DD07-AFE0650AC394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1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5" name="그룹 14">
            <a:extLst>
              <a:ext uri="{FF2B5EF4-FFF2-40B4-BE49-F238E27FC236}">
                <a16:creationId xmlns:a16="http://schemas.microsoft.com/office/drawing/2014/main" id="{D7818CA8-341D-1426-B5BD-68426CD5019C}"/>
              </a:ext>
            </a:extLst>
          </p:cNvPr>
          <p:cNvGrpSpPr/>
          <p:nvPr/>
        </p:nvGrpSpPr>
        <p:grpSpPr>
          <a:xfrm>
            <a:off x="9285921" y="2060848"/>
            <a:ext cx="764541" cy="230832"/>
            <a:chOff x="7316687" y="3282664"/>
            <a:chExt cx="764541" cy="230832"/>
          </a:xfrm>
        </p:grpSpPr>
        <p:sp>
          <p:nvSpPr>
            <p:cNvPr id="17" name="TextBox 174">
              <a:extLst>
                <a:ext uri="{FF2B5EF4-FFF2-40B4-BE49-F238E27FC236}">
                  <a16:creationId xmlns:a16="http://schemas.microsoft.com/office/drawing/2014/main" id="{7C0544C6-D176-EAC8-F0CE-BE31FA212C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590226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혈당 기록</a:t>
              </a:r>
            </a:p>
          </p:txBody>
        </p:sp>
        <p:sp>
          <p:nvSpPr>
            <p:cNvPr id="18" name="모서리가 둥근 직사각형 84">
              <a:extLst>
                <a:ext uri="{FF2B5EF4-FFF2-40B4-BE49-F238E27FC236}">
                  <a16:creationId xmlns:a16="http://schemas.microsoft.com/office/drawing/2014/main" id="{48C55DF6-F7B9-DD5B-C0A0-D31784796D7A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2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19" name="TextBox 174">
            <a:extLst>
              <a:ext uri="{FF2B5EF4-FFF2-40B4-BE49-F238E27FC236}">
                <a16:creationId xmlns:a16="http://schemas.microsoft.com/office/drawing/2014/main" id="{756A600F-AE24-431D-B235-3468EDDB519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39685" y="1526737"/>
            <a:ext cx="2573667" cy="4078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공복 기준</a:t>
            </a:r>
            <a:r>
              <a:rPr lang="en-US" altLang="ko-Kore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식사 후 </a:t>
            </a:r>
            <a:r>
              <a:rPr lang="en-US" altLang="ko-Kore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2</a:t>
            </a: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시간 선택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입력한 혈당 정보들의 평균</a:t>
            </a:r>
            <a:r>
              <a:rPr lang="en-US" altLang="ko-Kore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최대</a:t>
            </a:r>
            <a:r>
              <a:rPr lang="en-US" altLang="ko-Kore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최소 값 표출</a:t>
            </a:r>
            <a:endParaRPr lang="ko-KR" altLang="en-US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</p:txBody>
      </p:sp>
      <p:sp>
        <p:nvSpPr>
          <p:cNvPr id="20" name="TextBox 174">
            <a:extLst>
              <a:ext uri="{FF2B5EF4-FFF2-40B4-BE49-F238E27FC236}">
                <a16:creationId xmlns:a16="http://schemas.microsoft.com/office/drawing/2014/main" id="{E4EBDB32-3C53-8CC8-786B-3085203CB1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39684" y="2347599"/>
            <a:ext cx="2573667" cy="7617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계정 </a:t>
            </a:r>
            <a:r>
              <a:rPr lang="en-US" altLang="ko-Kore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ID</a:t>
            </a: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공복 혈당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입력 일시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클릭 시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혈당 측정 데이터 상세 화면으로 이동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</p:txBody>
      </p:sp>
      <p:sp>
        <p:nvSpPr>
          <p:cNvPr id="21" name="모서리가 둥근 직사각형 84">
            <a:extLst>
              <a:ext uri="{FF2B5EF4-FFF2-40B4-BE49-F238E27FC236}">
                <a16:creationId xmlns:a16="http://schemas.microsoft.com/office/drawing/2014/main" id="{45E909C2-703E-D2A8-4B54-3A3D3A714D94}"/>
              </a:ext>
            </a:extLst>
          </p:cNvPr>
          <p:cNvSpPr/>
          <p:nvPr/>
        </p:nvSpPr>
        <p:spPr>
          <a:xfrm>
            <a:off x="531740" y="2696288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1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22" name="모서리가 둥근 직사각형 84">
            <a:extLst>
              <a:ext uri="{FF2B5EF4-FFF2-40B4-BE49-F238E27FC236}">
                <a16:creationId xmlns:a16="http://schemas.microsoft.com/office/drawing/2014/main" id="{C8CD1243-B35C-6AEF-F1A1-5086FE0DD477}"/>
              </a:ext>
            </a:extLst>
          </p:cNvPr>
          <p:cNvSpPr/>
          <p:nvPr/>
        </p:nvSpPr>
        <p:spPr>
          <a:xfrm>
            <a:off x="494312" y="3831268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2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grpSp>
        <p:nvGrpSpPr>
          <p:cNvPr id="23" name="그룹 22">
            <a:extLst>
              <a:ext uri="{FF2B5EF4-FFF2-40B4-BE49-F238E27FC236}">
                <a16:creationId xmlns:a16="http://schemas.microsoft.com/office/drawing/2014/main" id="{62873709-128B-25AD-A998-F895F6A2D3F2}"/>
              </a:ext>
            </a:extLst>
          </p:cNvPr>
          <p:cNvGrpSpPr/>
          <p:nvPr/>
        </p:nvGrpSpPr>
        <p:grpSpPr>
          <a:xfrm>
            <a:off x="9300563" y="3789040"/>
            <a:ext cx="1287120" cy="230832"/>
            <a:chOff x="7316687" y="3282664"/>
            <a:chExt cx="1287120" cy="230832"/>
          </a:xfrm>
        </p:grpSpPr>
        <p:sp>
          <p:nvSpPr>
            <p:cNvPr id="24" name="TextBox 174">
              <a:extLst>
                <a:ext uri="{FF2B5EF4-FFF2-40B4-BE49-F238E27FC236}">
                  <a16:creationId xmlns:a16="http://schemas.microsoft.com/office/drawing/2014/main" id="{DFDDAD24-E06B-D12A-A287-219AE2BF37E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111280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혈당 측정 데이터 상세</a:t>
              </a:r>
            </a:p>
          </p:txBody>
        </p:sp>
        <p:sp>
          <p:nvSpPr>
            <p:cNvPr id="25" name="모서리가 둥근 직사각형 84">
              <a:extLst>
                <a:ext uri="{FF2B5EF4-FFF2-40B4-BE49-F238E27FC236}">
                  <a16:creationId xmlns:a16="http://schemas.microsoft.com/office/drawing/2014/main" id="{2F815373-62E6-9A4B-5149-E52519067566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4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6" name="TextBox 174">
            <a:extLst>
              <a:ext uri="{FF2B5EF4-FFF2-40B4-BE49-F238E27FC236}">
                <a16:creationId xmlns:a16="http://schemas.microsoft.com/office/drawing/2014/main" id="{75A5B5E2-16F6-793F-5600-AEC58539855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54326" y="4075791"/>
            <a:ext cx="2573667" cy="11156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계정 </a:t>
            </a:r>
            <a:r>
              <a:rPr lang="en-US" altLang="ko-Kore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ID</a:t>
            </a: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입력일시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공복 혈당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식사 후 </a:t>
            </a:r>
            <a:r>
              <a:rPr lang="en-US" altLang="ko-Kore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2</a:t>
            </a: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시간 혈당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당화혈색소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정상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ko-KR" altLang="en-US" sz="900" spc="-150" dirty="0" err="1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전당뇨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당뇨 단계 알림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</p:txBody>
      </p:sp>
      <p:sp>
        <p:nvSpPr>
          <p:cNvPr id="27" name="모서리가 둥근 직사각형 84">
            <a:extLst>
              <a:ext uri="{FF2B5EF4-FFF2-40B4-BE49-F238E27FC236}">
                <a16:creationId xmlns:a16="http://schemas.microsoft.com/office/drawing/2014/main" id="{B776E48A-D5C6-6D11-A419-D6E0F28BCC5C}"/>
              </a:ext>
            </a:extLst>
          </p:cNvPr>
          <p:cNvSpPr/>
          <p:nvPr/>
        </p:nvSpPr>
        <p:spPr>
          <a:xfrm>
            <a:off x="2950976" y="2886257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4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12" name="모서리가 둥근 직사각형 84">
            <a:extLst>
              <a:ext uri="{FF2B5EF4-FFF2-40B4-BE49-F238E27FC236}">
                <a16:creationId xmlns:a16="http://schemas.microsoft.com/office/drawing/2014/main" id="{AA2B410D-8FAB-395F-75D2-EA76E3FD2D5E}"/>
              </a:ext>
            </a:extLst>
          </p:cNvPr>
          <p:cNvSpPr/>
          <p:nvPr/>
        </p:nvSpPr>
        <p:spPr>
          <a:xfrm>
            <a:off x="2135560" y="5764239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3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grpSp>
        <p:nvGrpSpPr>
          <p:cNvPr id="28" name="그룹 27">
            <a:extLst>
              <a:ext uri="{FF2B5EF4-FFF2-40B4-BE49-F238E27FC236}">
                <a16:creationId xmlns:a16="http://schemas.microsoft.com/office/drawing/2014/main" id="{C404991D-E817-DAF1-B70F-32FA5783A0D7}"/>
              </a:ext>
            </a:extLst>
          </p:cNvPr>
          <p:cNvGrpSpPr/>
          <p:nvPr/>
        </p:nvGrpSpPr>
        <p:grpSpPr>
          <a:xfrm>
            <a:off x="9291190" y="3228018"/>
            <a:ext cx="1617339" cy="230832"/>
            <a:chOff x="7316687" y="3282664"/>
            <a:chExt cx="1617339" cy="230832"/>
          </a:xfrm>
        </p:grpSpPr>
        <p:sp>
          <p:nvSpPr>
            <p:cNvPr id="29" name="TextBox 174">
              <a:extLst>
                <a:ext uri="{FF2B5EF4-FFF2-40B4-BE49-F238E27FC236}">
                  <a16:creationId xmlns:a16="http://schemas.microsoft.com/office/drawing/2014/main" id="{E4B75454-F54C-CD2E-7B97-5CB64D6D362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1443024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혈당 측정 입력 화면 이동 버튼</a:t>
              </a:r>
              <a:endPara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  <p:sp>
          <p:nvSpPr>
            <p:cNvPr id="30" name="모서리가 둥근 직사각형 84">
              <a:extLst>
                <a:ext uri="{FF2B5EF4-FFF2-40B4-BE49-F238E27FC236}">
                  <a16:creationId xmlns:a16="http://schemas.microsoft.com/office/drawing/2014/main" id="{6CAE2EDD-8629-26B3-F1FD-677CB8D24396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3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31" name="TextBox 174">
            <a:extLst>
              <a:ext uri="{FF2B5EF4-FFF2-40B4-BE49-F238E27FC236}">
                <a16:creationId xmlns:a16="http://schemas.microsoft.com/office/drawing/2014/main" id="{0BABE2DA-70D4-C05D-5518-1D9DDCCAA01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39685" y="3485995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클릭 시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혈당 측정 입력 화면으로 이동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31988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그림 36" descr="텍스트, 소프트웨어, 웹 페이지, 웹사이트이(가) 표시된 사진&#10;&#10;자동 생성된 설명">
            <a:extLst>
              <a:ext uri="{FF2B5EF4-FFF2-40B4-BE49-F238E27FC236}">
                <a16:creationId xmlns:a16="http://schemas.microsoft.com/office/drawing/2014/main" id="{7317FF62-50F4-177F-4727-8AF5FBDBFB37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597600" y="2062800"/>
            <a:ext cx="2052000" cy="4294800"/>
          </a:xfrm>
          <a:prstGeom prst="rect">
            <a:avLst/>
          </a:prstGeom>
        </p:spPr>
      </p:pic>
      <p:pic>
        <p:nvPicPr>
          <p:cNvPr id="39" name="그림 38" descr="텍스트, 스크린샷, 폰트, 번호이(가) 표시된 사진&#10;&#10;자동 생성된 설명">
            <a:extLst>
              <a:ext uri="{FF2B5EF4-FFF2-40B4-BE49-F238E27FC236}">
                <a16:creationId xmlns:a16="http://schemas.microsoft.com/office/drawing/2014/main" id="{C7FE3168-ABD0-4F94-F073-2D09418A3F41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2880000" y="2062800"/>
            <a:ext cx="2052000" cy="4294800"/>
          </a:xfrm>
          <a:prstGeom prst="rect">
            <a:avLst/>
          </a:prstGeom>
        </p:spPr>
      </p:pic>
      <p:sp>
        <p:nvSpPr>
          <p:cNvPr id="2" name="제목 1">
            <a:extLst>
              <a:ext uri="{FF2B5EF4-FFF2-40B4-BE49-F238E27FC236}">
                <a16:creationId xmlns:a16="http://schemas.microsoft.com/office/drawing/2014/main" id="{0C5286BA-92CE-41FB-BB05-BE0F5BBA1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err="1"/>
              <a:t>마이데이터</a:t>
            </a:r>
            <a:endParaRPr lang="ko-KR" altLang="en-US" dirty="0"/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B73B35C2-EB8A-4573-B037-7CC6DF06F86A}"/>
              </a:ext>
            </a:extLst>
          </p:cNvPr>
          <p:cNvGrpSpPr/>
          <p:nvPr/>
        </p:nvGrpSpPr>
        <p:grpSpPr>
          <a:xfrm>
            <a:off x="0" y="-3562"/>
            <a:ext cx="9226508" cy="6816938"/>
            <a:chOff x="-1952021" y="-3562"/>
            <a:chExt cx="9226508" cy="6816938"/>
          </a:xfrm>
        </p:grpSpPr>
        <p:cxnSp>
          <p:nvCxnSpPr>
            <p:cNvPr id="6" name="직선 연결선 5">
              <a:extLst>
                <a:ext uri="{FF2B5EF4-FFF2-40B4-BE49-F238E27FC236}">
                  <a16:creationId xmlns:a16="http://schemas.microsoft.com/office/drawing/2014/main" id="{B4C45666-B8F5-4C50-86A6-C4C0BE1D6FE0}"/>
                </a:ext>
              </a:extLst>
            </p:cNvPr>
            <p:cNvCxnSpPr>
              <a:cxnSpLocks/>
            </p:cNvCxnSpPr>
            <p:nvPr/>
          </p:nvCxnSpPr>
          <p:spPr>
            <a:xfrm>
              <a:off x="7257256" y="-3562"/>
              <a:ext cx="0" cy="6816938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직선 연결선 6">
              <a:extLst>
                <a:ext uri="{FF2B5EF4-FFF2-40B4-BE49-F238E27FC236}">
                  <a16:creationId xmlns:a16="http://schemas.microsoft.com/office/drawing/2014/main" id="{4860EB04-C536-404F-98C0-823E8ADC86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1952021" y="1563825"/>
              <a:ext cx="9226508" cy="0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0B76F625-D0A3-4C9E-8D76-BC231976DDDC}"/>
              </a:ext>
            </a:extLst>
          </p:cNvPr>
          <p:cNvGrpSpPr/>
          <p:nvPr/>
        </p:nvGrpSpPr>
        <p:grpSpPr>
          <a:xfrm>
            <a:off x="479376" y="908720"/>
            <a:ext cx="6759312" cy="338554"/>
            <a:chOff x="479376" y="-963488"/>
            <a:chExt cx="6759312" cy="338554"/>
          </a:xfrm>
        </p:grpSpPr>
        <p:sp>
          <p:nvSpPr>
            <p:cNvPr id="9" name="사각형: 둥근 모서리 8">
              <a:extLst>
                <a:ext uri="{FF2B5EF4-FFF2-40B4-BE49-F238E27FC236}">
                  <a16:creationId xmlns:a16="http://schemas.microsoft.com/office/drawing/2014/main" id="{F66EE92C-BEAA-4A28-9FFE-528E99678B1D}"/>
                </a:ext>
              </a:extLst>
            </p:cNvPr>
            <p:cNvSpPr/>
            <p:nvPr/>
          </p:nvSpPr>
          <p:spPr>
            <a:xfrm>
              <a:off x="479376" y="-946863"/>
              <a:ext cx="590358" cy="305304"/>
            </a:xfrm>
            <a:prstGeom prst="roundRect">
              <a:avLst>
                <a:gd name="adj" fmla="val 50000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>
                      <a:alpha val="50000"/>
                    </a:schemeClr>
                  </a:solidFill>
                  <a:latin typeface="+mn-ea"/>
                  <a:cs typeface="Arial" panose="020B0604020202020204" pitchFamily="34" charset="0"/>
                </a:rPr>
                <a:t>0</a:t>
              </a:r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C8869CF-0725-41FD-AE4C-2AF26212AA85}"/>
                </a:ext>
              </a:extLst>
            </p:cNvPr>
            <p:cNvSpPr txBox="1"/>
            <p:nvPr/>
          </p:nvSpPr>
          <p:spPr>
            <a:xfrm>
              <a:off x="1127448" y="-963488"/>
              <a:ext cx="6111240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R="0" indent="0" algn="just" fontAlgn="base" latinLnBrk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 sz="1600" kern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defRPr>
              </a:lvl1pPr>
            </a:lstStyle>
            <a:p>
              <a:r>
                <a:rPr lang="ko-KR" altLang="en-US" dirty="0"/>
                <a:t>나의 서비스 </a:t>
              </a:r>
              <a:r>
                <a:rPr lang="ko-KR" altLang="en-US"/>
                <a:t>이력 </a:t>
              </a:r>
              <a:r>
                <a:rPr lang="en-US" altLang="ko-KR" dirty="0"/>
                <a:t>– </a:t>
              </a:r>
              <a:r>
                <a:rPr lang="ko-KR" altLang="en-US"/>
                <a:t>목록 조회</a:t>
              </a:r>
              <a:endParaRPr lang="en-US" altLang="ko-KR" dirty="0"/>
            </a:p>
          </p:txBody>
        </p:sp>
      </p:grpSp>
      <p:sp>
        <p:nvSpPr>
          <p:cNvPr id="13" name="모서리가 둥근 직사각형 84">
            <a:extLst>
              <a:ext uri="{FF2B5EF4-FFF2-40B4-BE49-F238E27FC236}">
                <a16:creationId xmlns:a16="http://schemas.microsoft.com/office/drawing/2014/main" id="{7EFC200D-1896-4C61-B3EB-7B8A3EF1EF1B}"/>
              </a:ext>
            </a:extLst>
          </p:cNvPr>
          <p:cNvSpPr/>
          <p:nvPr/>
        </p:nvSpPr>
        <p:spPr>
          <a:xfrm>
            <a:off x="523905" y="2597096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1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14" name="모서리가 둥근 직사각형 84">
            <a:extLst>
              <a:ext uri="{FF2B5EF4-FFF2-40B4-BE49-F238E27FC236}">
                <a16:creationId xmlns:a16="http://schemas.microsoft.com/office/drawing/2014/main" id="{4D9B35CE-2128-4112-886F-51CAFABEB8E2}"/>
              </a:ext>
            </a:extLst>
          </p:cNvPr>
          <p:cNvSpPr/>
          <p:nvPr/>
        </p:nvSpPr>
        <p:spPr>
          <a:xfrm>
            <a:off x="628463" y="3722886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3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15" name="모서리가 둥근 직사각형 84">
            <a:extLst>
              <a:ext uri="{FF2B5EF4-FFF2-40B4-BE49-F238E27FC236}">
                <a16:creationId xmlns:a16="http://schemas.microsoft.com/office/drawing/2014/main" id="{D6F68C08-E7A5-4B17-B961-B9674A81EF93}"/>
              </a:ext>
            </a:extLst>
          </p:cNvPr>
          <p:cNvSpPr/>
          <p:nvPr/>
        </p:nvSpPr>
        <p:spPr>
          <a:xfrm>
            <a:off x="1970468" y="2609125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2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16" name="모서리가 둥근 직사각형 84">
            <a:extLst>
              <a:ext uri="{FF2B5EF4-FFF2-40B4-BE49-F238E27FC236}">
                <a16:creationId xmlns:a16="http://schemas.microsoft.com/office/drawing/2014/main" id="{52A3DE70-4EA6-4FC1-B3D7-616DEA9196FD}"/>
              </a:ext>
            </a:extLst>
          </p:cNvPr>
          <p:cNvSpPr/>
          <p:nvPr/>
        </p:nvSpPr>
        <p:spPr>
          <a:xfrm>
            <a:off x="4322951" y="2656454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5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D8D1C395-4B73-4E94-B1BC-6CDE24383FF2}"/>
              </a:ext>
            </a:extLst>
          </p:cNvPr>
          <p:cNvGrpSpPr/>
          <p:nvPr/>
        </p:nvGrpSpPr>
        <p:grpSpPr>
          <a:xfrm>
            <a:off x="9282973" y="1313496"/>
            <a:ext cx="2573667" cy="982034"/>
            <a:chOff x="7031364" y="0"/>
            <a:chExt cx="2573667" cy="982034"/>
          </a:xfrm>
        </p:grpSpPr>
        <p:grpSp>
          <p:nvGrpSpPr>
            <p:cNvPr id="18" name="그룹 17">
              <a:extLst>
                <a:ext uri="{FF2B5EF4-FFF2-40B4-BE49-F238E27FC236}">
                  <a16:creationId xmlns:a16="http://schemas.microsoft.com/office/drawing/2014/main" id="{C19D386D-2F28-47BF-BE10-65B9E79B4D0C}"/>
                </a:ext>
              </a:extLst>
            </p:cNvPr>
            <p:cNvGrpSpPr/>
            <p:nvPr/>
          </p:nvGrpSpPr>
          <p:grpSpPr>
            <a:xfrm>
              <a:off x="7070591" y="0"/>
              <a:ext cx="1353535" cy="230832"/>
              <a:chOff x="7316687" y="3282664"/>
              <a:chExt cx="1353535" cy="230832"/>
            </a:xfrm>
          </p:grpSpPr>
          <p:sp>
            <p:nvSpPr>
              <p:cNvPr id="20" name="TextBox 174">
                <a:extLst>
                  <a:ext uri="{FF2B5EF4-FFF2-40B4-BE49-F238E27FC236}">
                    <a16:creationId xmlns:a16="http://schemas.microsoft.com/office/drawing/2014/main" id="{3611C3D1-D573-4AF2-AB7D-C8FC65E51852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482076" y="3282664"/>
                <a:ext cx="1188146" cy="2308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>
                  <a:defRPr/>
                </a:pPr>
                <a:r>
                  <a:rPr lang="ko-KR" altLang="en-US" sz="900" b="1" spc="-150" dirty="0">
                    <a:ln>
                      <a:solidFill>
                        <a:srgbClr val="5B9BD5">
                          <a:shade val="50000"/>
                          <a:alpha val="0"/>
                        </a:srgbClr>
                      </a:solidFill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+mn-ea"/>
                    <a:ea typeface="+mn-ea"/>
                  </a:rPr>
                  <a:t>나의 재활보조기구 목록</a:t>
                </a:r>
              </a:p>
            </p:txBody>
          </p:sp>
          <p:sp>
            <p:nvSpPr>
              <p:cNvPr id="21" name="모서리가 둥근 직사각형 84">
                <a:extLst>
                  <a:ext uri="{FF2B5EF4-FFF2-40B4-BE49-F238E27FC236}">
                    <a16:creationId xmlns:a16="http://schemas.microsoft.com/office/drawing/2014/main" id="{72861F63-9477-472B-AD24-3B7611D2036F}"/>
                  </a:ext>
                </a:extLst>
              </p:cNvPr>
              <p:cNvSpPr/>
              <p:nvPr/>
            </p:nvSpPr>
            <p:spPr>
              <a:xfrm>
                <a:off x="7316687" y="3317910"/>
                <a:ext cx="185041" cy="185041"/>
              </a:xfrm>
              <a:prstGeom prst="roundRect">
                <a:avLst/>
              </a:prstGeom>
              <a:solidFill>
                <a:srgbClr val="627EA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r>
                  <a:rPr lang="en-US" altLang="ko-KR" sz="900" spc="-150" dirty="0">
                    <a:ln>
                      <a:solidFill>
                        <a:srgbClr val="5B9BD5">
                          <a:shade val="50000"/>
                          <a:alpha val="0"/>
                        </a:srgbClr>
                      </a:solidFill>
                    </a:ln>
                    <a:solidFill>
                      <a:prstClr val="white"/>
                    </a:solidFill>
                    <a:latin typeface="+mn-ea"/>
                    <a:cs typeface="Arial" panose="020B0604020202020204" pitchFamily="34" charset="0"/>
                  </a:rPr>
                  <a:t>1</a:t>
                </a:r>
                <a:endParaRPr lang="ko-KR" altLang="en-US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9" name="TextBox 174">
              <a:extLst>
                <a:ext uri="{FF2B5EF4-FFF2-40B4-BE49-F238E27FC236}">
                  <a16:creationId xmlns:a16="http://schemas.microsoft.com/office/drawing/2014/main" id="{0E3AEBF6-0400-499E-8984-5B9461E3F0B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031364" y="220287"/>
              <a:ext cx="2573667" cy="7617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176213" indent="-176213">
                <a:spcBef>
                  <a:spcPts val="300"/>
                </a:spcBef>
                <a:buClr>
                  <a:srgbClr val="D0A660"/>
                </a:buClr>
                <a:buSzPct val="100000"/>
                <a:buBlip>
                  <a:blip r:embed="rId5"/>
                </a:buBlip>
                <a:defRPr/>
              </a:pPr>
              <a:r>
                <a:rPr lang="ko-KR" altLang="en-US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재활보조기구</a:t>
              </a:r>
              <a:r>
                <a:rPr lang="ko-KR" altLang="en-US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명  및 코드</a:t>
              </a:r>
              <a:endPara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  <a:p>
              <a:pPr marL="176213" indent="-176213">
                <a:spcBef>
                  <a:spcPts val="300"/>
                </a:spcBef>
                <a:buClr>
                  <a:srgbClr val="D0A660"/>
                </a:buClr>
                <a:buSzPct val="100000"/>
                <a:buBlip>
                  <a:blip r:embed="rId5"/>
                </a:buBlip>
                <a:defRPr/>
              </a:pPr>
              <a:r>
                <a:rPr lang="ko-KR" altLang="en-US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재활보조기구 </a:t>
              </a:r>
              <a:r>
                <a:rPr lang="ko-KR" altLang="en-US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구매일</a:t>
              </a:r>
              <a:endPara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  <a:p>
              <a:pPr marL="176213" indent="-176213">
                <a:spcBef>
                  <a:spcPts val="300"/>
                </a:spcBef>
                <a:buClr>
                  <a:srgbClr val="D0A660"/>
                </a:buClr>
                <a:buSzPct val="100000"/>
                <a:buBlip>
                  <a:blip r:embed="rId5"/>
                </a:buBlip>
                <a:defRPr/>
              </a:pPr>
              <a:r>
                <a:rPr lang="ko-KR" altLang="en-US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품목명 및 코드</a:t>
              </a:r>
              <a:endPara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  <a:p>
              <a:pPr marL="176213" indent="-176213">
                <a:spcBef>
                  <a:spcPts val="300"/>
                </a:spcBef>
                <a:buClr>
                  <a:srgbClr val="D0A660"/>
                </a:buClr>
                <a:buSzPct val="100000"/>
                <a:buBlip>
                  <a:blip r:embed="rId5"/>
                </a:buBlip>
                <a:defRPr/>
              </a:pPr>
              <a:r>
                <a:rPr lang="ko-KR" altLang="en-US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점검 및 내구연한과 잔여일수</a:t>
              </a:r>
              <a:endPara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</p:grpSp>
      <p:grpSp>
        <p:nvGrpSpPr>
          <p:cNvPr id="22" name="그룹 21">
            <a:extLst>
              <a:ext uri="{FF2B5EF4-FFF2-40B4-BE49-F238E27FC236}">
                <a16:creationId xmlns:a16="http://schemas.microsoft.com/office/drawing/2014/main" id="{B730308C-71D3-40F6-AEEC-4120A7D8E8B3}"/>
              </a:ext>
            </a:extLst>
          </p:cNvPr>
          <p:cNvGrpSpPr/>
          <p:nvPr/>
        </p:nvGrpSpPr>
        <p:grpSpPr>
          <a:xfrm>
            <a:off x="9282973" y="2348880"/>
            <a:ext cx="2573667" cy="451119"/>
            <a:chOff x="7031364" y="0"/>
            <a:chExt cx="2573667" cy="451119"/>
          </a:xfrm>
        </p:grpSpPr>
        <p:grpSp>
          <p:nvGrpSpPr>
            <p:cNvPr id="23" name="그룹 22">
              <a:extLst>
                <a:ext uri="{FF2B5EF4-FFF2-40B4-BE49-F238E27FC236}">
                  <a16:creationId xmlns:a16="http://schemas.microsoft.com/office/drawing/2014/main" id="{3B4CDC6B-C030-4768-B5DC-E59994E28ED3}"/>
                </a:ext>
              </a:extLst>
            </p:cNvPr>
            <p:cNvGrpSpPr/>
            <p:nvPr/>
          </p:nvGrpSpPr>
          <p:grpSpPr>
            <a:xfrm>
              <a:off x="7070591" y="0"/>
              <a:ext cx="968814" cy="230832"/>
              <a:chOff x="7316687" y="3282664"/>
              <a:chExt cx="968814" cy="230832"/>
            </a:xfrm>
          </p:grpSpPr>
          <p:sp>
            <p:nvSpPr>
              <p:cNvPr id="25" name="TextBox 174">
                <a:extLst>
                  <a:ext uri="{FF2B5EF4-FFF2-40B4-BE49-F238E27FC236}">
                    <a16:creationId xmlns:a16="http://schemas.microsoft.com/office/drawing/2014/main" id="{7293E87E-9C80-4A70-965F-31870BD7EBD3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482076" y="3282664"/>
                <a:ext cx="803425" cy="2308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>
                  <a:defRPr/>
                </a:pPr>
                <a:r>
                  <a:rPr lang="ko-KR" altLang="en-US" sz="900" b="1" spc="-150" dirty="0">
                    <a:ln>
                      <a:solidFill>
                        <a:srgbClr val="5B9BD5">
                          <a:shade val="50000"/>
                          <a:alpha val="0"/>
                        </a:srgbClr>
                      </a:solidFill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+mn-ea"/>
                    <a:ea typeface="+mn-ea"/>
                  </a:rPr>
                  <a:t>수리 이력 버튼</a:t>
                </a:r>
              </a:p>
            </p:txBody>
          </p:sp>
          <p:sp>
            <p:nvSpPr>
              <p:cNvPr id="26" name="모서리가 둥근 직사각형 84">
                <a:extLst>
                  <a:ext uri="{FF2B5EF4-FFF2-40B4-BE49-F238E27FC236}">
                    <a16:creationId xmlns:a16="http://schemas.microsoft.com/office/drawing/2014/main" id="{A9A8EF06-F22F-4319-AA04-79B22B7C4C00}"/>
                  </a:ext>
                </a:extLst>
              </p:cNvPr>
              <p:cNvSpPr/>
              <p:nvPr/>
            </p:nvSpPr>
            <p:spPr>
              <a:xfrm>
                <a:off x="7316687" y="3317910"/>
                <a:ext cx="185041" cy="185041"/>
              </a:xfrm>
              <a:prstGeom prst="roundRect">
                <a:avLst/>
              </a:prstGeom>
              <a:solidFill>
                <a:srgbClr val="627EA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r>
                  <a:rPr lang="en-US" altLang="ko-KR" sz="900" spc="-150" dirty="0">
                    <a:ln>
                      <a:solidFill>
                        <a:srgbClr val="5B9BD5">
                          <a:shade val="50000"/>
                          <a:alpha val="0"/>
                        </a:srgbClr>
                      </a:solidFill>
                    </a:ln>
                    <a:solidFill>
                      <a:prstClr val="white"/>
                    </a:solidFill>
                    <a:latin typeface="+mn-ea"/>
                    <a:cs typeface="Arial" panose="020B0604020202020204" pitchFamily="34" charset="0"/>
                  </a:rPr>
                  <a:t>2</a:t>
                </a:r>
                <a:endParaRPr lang="ko-KR" altLang="en-US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4" name="TextBox 174">
              <a:extLst>
                <a:ext uri="{FF2B5EF4-FFF2-40B4-BE49-F238E27FC236}">
                  <a16:creationId xmlns:a16="http://schemas.microsoft.com/office/drawing/2014/main" id="{A840510F-E640-46EA-88CA-13FC5D19618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031364" y="220287"/>
              <a:ext cx="2573667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176213" indent="-176213">
                <a:spcBef>
                  <a:spcPts val="300"/>
                </a:spcBef>
                <a:buClr>
                  <a:srgbClr val="D0A660"/>
                </a:buClr>
                <a:buSzPct val="100000"/>
                <a:buBlip>
                  <a:blip r:embed="rId5"/>
                </a:buBlip>
                <a:defRPr/>
              </a:pPr>
              <a:r>
                <a:rPr lang="ko-KR" altLang="en-US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클릭 시</a:t>
              </a:r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, [</a:t>
              </a:r>
              <a:r>
                <a:rPr lang="ko-KR" altLang="en-US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재활보조기구 수리이력</a:t>
              </a:r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]</a:t>
              </a:r>
              <a:r>
                <a:rPr lang="ko-KR" altLang="en-US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화면으로 이동</a:t>
              </a:r>
              <a:endPara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endParaRPr>
            </a:p>
          </p:txBody>
        </p:sp>
      </p:grpSp>
      <p:grpSp>
        <p:nvGrpSpPr>
          <p:cNvPr id="27" name="그룹 26">
            <a:extLst>
              <a:ext uri="{FF2B5EF4-FFF2-40B4-BE49-F238E27FC236}">
                <a16:creationId xmlns:a16="http://schemas.microsoft.com/office/drawing/2014/main" id="{3BA68683-CB0A-4544-8498-9F984D7805FB}"/>
              </a:ext>
            </a:extLst>
          </p:cNvPr>
          <p:cNvGrpSpPr/>
          <p:nvPr/>
        </p:nvGrpSpPr>
        <p:grpSpPr>
          <a:xfrm>
            <a:off x="9282973" y="3448981"/>
            <a:ext cx="2573667" cy="628091"/>
            <a:chOff x="7031364" y="0"/>
            <a:chExt cx="2573667" cy="628091"/>
          </a:xfrm>
        </p:grpSpPr>
        <p:grpSp>
          <p:nvGrpSpPr>
            <p:cNvPr id="28" name="그룹 27">
              <a:extLst>
                <a:ext uri="{FF2B5EF4-FFF2-40B4-BE49-F238E27FC236}">
                  <a16:creationId xmlns:a16="http://schemas.microsoft.com/office/drawing/2014/main" id="{C037BE34-6CE7-49A6-BADE-E82CA58515B0}"/>
                </a:ext>
              </a:extLst>
            </p:cNvPr>
            <p:cNvGrpSpPr/>
            <p:nvPr/>
          </p:nvGrpSpPr>
          <p:grpSpPr>
            <a:xfrm>
              <a:off x="7070591" y="0"/>
              <a:ext cx="1161174" cy="230832"/>
              <a:chOff x="7316687" y="3282664"/>
              <a:chExt cx="1161174" cy="230832"/>
            </a:xfrm>
          </p:grpSpPr>
          <p:sp>
            <p:nvSpPr>
              <p:cNvPr id="30" name="TextBox 174">
                <a:extLst>
                  <a:ext uri="{FF2B5EF4-FFF2-40B4-BE49-F238E27FC236}">
                    <a16:creationId xmlns:a16="http://schemas.microsoft.com/office/drawing/2014/main" id="{7C86C9D8-A201-4262-A22A-0DCF63922189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482076" y="3282664"/>
                <a:ext cx="995785" cy="2308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>
                  <a:defRPr/>
                </a:pPr>
                <a:r>
                  <a:rPr lang="ko-KR" altLang="en-US" sz="900" b="1" spc="-150" dirty="0">
                    <a:ln>
                      <a:solidFill>
                        <a:srgbClr val="5B9BD5">
                          <a:shade val="50000"/>
                          <a:alpha val="0"/>
                        </a:srgbClr>
                      </a:solidFill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+mn-ea"/>
                    <a:ea typeface="+mn-ea"/>
                  </a:rPr>
                  <a:t>장비 수리이력 목록</a:t>
                </a:r>
              </a:p>
            </p:txBody>
          </p:sp>
          <p:sp>
            <p:nvSpPr>
              <p:cNvPr id="31" name="모서리가 둥근 직사각형 84">
                <a:extLst>
                  <a:ext uri="{FF2B5EF4-FFF2-40B4-BE49-F238E27FC236}">
                    <a16:creationId xmlns:a16="http://schemas.microsoft.com/office/drawing/2014/main" id="{14C06D3A-9238-4A52-BCD3-529F2125765C}"/>
                  </a:ext>
                </a:extLst>
              </p:cNvPr>
              <p:cNvSpPr/>
              <p:nvPr/>
            </p:nvSpPr>
            <p:spPr>
              <a:xfrm>
                <a:off x="7316687" y="3317910"/>
                <a:ext cx="185041" cy="185041"/>
              </a:xfrm>
              <a:prstGeom prst="roundRect">
                <a:avLst/>
              </a:prstGeom>
              <a:solidFill>
                <a:srgbClr val="627EA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r>
                  <a:rPr lang="en-US" altLang="ko-KR" sz="900" spc="-150" dirty="0">
                    <a:ln>
                      <a:solidFill>
                        <a:srgbClr val="5B9BD5">
                          <a:shade val="50000"/>
                          <a:alpha val="0"/>
                        </a:srgbClr>
                      </a:solidFill>
                    </a:ln>
                    <a:solidFill>
                      <a:prstClr val="white"/>
                    </a:solidFill>
                    <a:latin typeface="+mn-ea"/>
                    <a:cs typeface="Arial" panose="020B0604020202020204" pitchFamily="34" charset="0"/>
                  </a:rPr>
                  <a:t>4</a:t>
                </a:r>
                <a:endParaRPr lang="ko-KR" altLang="en-US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9" name="TextBox 174">
              <a:extLst>
                <a:ext uri="{FF2B5EF4-FFF2-40B4-BE49-F238E27FC236}">
                  <a16:creationId xmlns:a16="http://schemas.microsoft.com/office/drawing/2014/main" id="{9481A503-5AA6-4C9F-9674-1E6DDF6EF33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031364" y="220287"/>
              <a:ext cx="2573667" cy="4078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176213" indent="-176213">
                <a:spcBef>
                  <a:spcPts val="300"/>
                </a:spcBef>
                <a:buClr>
                  <a:srgbClr val="D0A660"/>
                </a:buClr>
                <a:buSzPct val="100000"/>
                <a:buBlip>
                  <a:blip r:embed="rId5"/>
                </a:buBlip>
                <a:defRPr/>
              </a:pPr>
              <a:r>
                <a:rPr lang="ko-KR" altLang="en-US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품목명 및 코드</a:t>
              </a:r>
              <a:endPara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  <a:p>
              <a:pPr marL="176213" indent="-176213">
                <a:spcBef>
                  <a:spcPts val="300"/>
                </a:spcBef>
                <a:buClr>
                  <a:srgbClr val="D0A660"/>
                </a:buClr>
                <a:buSzPct val="100000"/>
                <a:buBlip>
                  <a:blip r:embed="rId5"/>
                </a:buBlip>
                <a:defRPr/>
              </a:pPr>
              <a:r>
                <a:rPr lang="ko-KR" altLang="en-US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수리일</a:t>
              </a:r>
              <a:endPara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</p:grpSp>
      <p:grpSp>
        <p:nvGrpSpPr>
          <p:cNvPr id="32" name="그룹 31">
            <a:extLst>
              <a:ext uri="{FF2B5EF4-FFF2-40B4-BE49-F238E27FC236}">
                <a16:creationId xmlns:a16="http://schemas.microsoft.com/office/drawing/2014/main" id="{25D79DF7-D856-4C80-9C11-6E56C533DF18}"/>
              </a:ext>
            </a:extLst>
          </p:cNvPr>
          <p:cNvGrpSpPr/>
          <p:nvPr/>
        </p:nvGrpSpPr>
        <p:grpSpPr>
          <a:xfrm>
            <a:off x="9282972" y="4305383"/>
            <a:ext cx="2573667" cy="451119"/>
            <a:chOff x="7031364" y="0"/>
            <a:chExt cx="2573667" cy="451119"/>
          </a:xfrm>
        </p:grpSpPr>
        <p:grpSp>
          <p:nvGrpSpPr>
            <p:cNvPr id="33" name="그룹 32">
              <a:extLst>
                <a:ext uri="{FF2B5EF4-FFF2-40B4-BE49-F238E27FC236}">
                  <a16:creationId xmlns:a16="http://schemas.microsoft.com/office/drawing/2014/main" id="{E32A8112-CDDC-42E6-A2DB-9D6A76B15186}"/>
                </a:ext>
              </a:extLst>
            </p:cNvPr>
            <p:cNvGrpSpPr/>
            <p:nvPr/>
          </p:nvGrpSpPr>
          <p:grpSpPr>
            <a:xfrm>
              <a:off x="7070591" y="0"/>
              <a:ext cx="851795" cy="230832"/>
              <a:chOff x="7316687" y="3282664"/>
              <a:chExt cx="851795" cy="230832"/>
            </a:xfrm>
          </p:grpSpPr>
          <p:sp>
            <p:nvSpPr>
              <p:cNvPr id="35" name="TextBox 174">
                <a:extLst>
                  <a:ext uri="{FF2B5EF4-FFF2-40B4-BE49-F238E27FC236}">
                    <a16:creationId xmlns:a16="http://schemas.microsoft.com/office/drawing/2014/main" id="{505C7395-D188-4E00-919A-DFDFC99C3775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482076" y="3282664"/>
                <a:ext cx="686406" cy="2308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>
                  <a:defRPr/>
                </a:pPr>
                <a:r>
                  <a:rPr lang="ko-KR" altLang="en-US" sz="900" b="1" spc="-150" dirty="0">
                    <a:ln>
                      <a:solidFill>
                        <a:srgbClr val="5B9BD5">
                          <a:shade val="50000"/>
                          <a:alpha val="0"/>
                        </a:srgbClr>
                      </a:solidFill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+mn-ea"/>
                    <a:ea typeface="+mn-ea"/>
                  </a:rPr>
                  <a:t>처방전 버튼</a:t>
                </a:r>
              </a:p>
            </p:txBody>
          </p:sp>
          <p:sp>
            <p:nvSpPr>
              <p:cNvPr id="36" name="모서리가 둥근 직사각형 84">
                <a:extLst>
                  <a:ext uri="{FF2B5EF4-FFF2-40B4-BE49-F238E27FC236}">
                    <a16:creationId xmlns:a16="http://schemas.microsoft.com/office/drawing/2014/main" id="{8F50811C-D560-4464-9080-21177F4A3579}"/>
                  </a:ext>
                </a:extLst>
              </p:cNvPr>
              <p:cNvSpPr/>
              <p:nvPr/>
            </p:nvSpPr>
            <p:spPr>
              <a:xfrm>
                <a:off x="7316687" y="3317910"/>
                <a:ext cx="185041" cy="185041"/>
              </a:xfrm>
              <a:prstGeom prst="roundRect">
                <a:avLst/>
              </a:prstGeom>
              <a:solidFill>
                <a:srgbClr val="627EA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r>
                  <a:rPr lang="en-US" altLang="ko-KR" sz="900" spc="-150" dirty="0">
                    <a:ln>
                      <a:solidFill>
                        <a:srgbClr val="5B9BD5">
                          <a:shade val="50000"/>
                          <a:alpha val="0"/>
                        </a:srgbClr>
                      </a:solidFill>
                    </a:ln>
                    <a:solidFill>
                      <a:prstClr val="white"/>
                    </a:solidFill>
                    <a:latin typeface="+mn-ea"/>
                    <a:cs typeface="Arial" panose="020B0604020202020204" pitchFamily="34" charset="0"/>
                  </a:rPr>
                  <a:t>5</a:t>
                </a:r>
                <a:endParaRPr lang="ko-KR" altLang="en-US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34" name="TextBox 174">
              <a:extLst>
                <a:ext uri="{FF2B5EF4-FFF2-40B4-BE49-F238E27FC236}">
                  <a16:creationId xmlns:a16="http://schemas.microsoft.com/office/drawing/2014/main" id="{6C0303A0-AA4F-4FAC-BDBB-56AC0B1C9D1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031364" y="220287"/>
              <a:ext cx="2573667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176213" indent="-176213">
                <a:spcBef>
                  <a:spcPts val="300"/>
                </a:spcBef>
                <a:buClr>
                  <a:srgbClr val="D0A660"/>
                </a:buClr>
                <a:buSzPct val="100000"/>
                <a:buBlip>
                  <a:blip r:embed="rId5"/>
                </a:buBlip>
                <a:defRPr/>
              </a:pPr>
              <a:r>
                <a:rPr lang="ko-KR" altLang="en-US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해당 수리이력의 전자처방전 상세보기 시트 표출</a:t>
              </a:r>
              <a:endPara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endParaRPr>
            </a:p>
          </p:txBody>
        </p:sp>
      </p:grpSp>
      <p:pic>
        <p:nvPicPr>
          <p:cNvPr id="45" name="그림 44" descr="텍스트, 스크린샷, 폰트, 번호이(가) 표시된 사진&#10;&#10;자동 생성된 설명">
            <a:extLst>
              <a:ext uri="{FF2B5EF4-FFF2-40B4-BE49-F238E27FC236}">
                <a16:creationId xmlns:a16="http://schemas.microsoft.com/office/drawing/2014/main" id="{7F79E00C-E67E-D7B8-63F6-36AD73DBA44F}"/>
              </a:ext>
            </a:extLst>
          </p:cNvPr>
          <p:cNvPicPr>
            <a:picLocks/>
          </p:cNvPicPr>
          <p:nvPr/>
        </p:nvPicPr>
        <p:blipFill>
          <a:blip r:embed="rId6"/>
          <a:stretch>
            <a:fillRect/>
          </a:stretch>
        </p:blipFill>
        <p:spPr>
          <a:xfrm>
            <a:off x="5162400" y="2062800"/>
            <a:ext cx="2052000" cy="4294800"/>
          </a:xfrm>
          <a:prstGeom prst="rect">
            <a:avLst/>
          </a:prstGeom>
        </p:spPr>
      </p:pic>
      <p:grpSp>
        <p:nvGrpSpPr>
          <p:cNvPr id="46" name="그룹 45">
            <a:extLst>
              <a:ext uri="{FF2B5EF4-FFF2-40B4-BE49-F238E27FC236}">
                <a16:creationId xmlns:a16="http://schemas.microsoft.com/office/drawing/2014/main" id="{940156B5-43ED-75F2-E504-C4716FBD985B}"/>
              </a:ext>
            </a:extLst>
          </p:cNvPr>
          <p:cNvGrpSpPr/>
          <p:nvPr/>
        </p:nvGrpSpPr>
        <p:grpSpPr>
          <a:xfrm>
            <a:off x="9322201" y="2932638"/>
            <a:ext cx="1170100" cy="230832"/>
            <a:chOff x="7316687" y="3282664"/>
            <a:chExt cx="1170100" cy="230832"/>
          </a:xfrm>
        </p:grpSpPr>
        <p:sp>
          <p:nvSpPr>
            <p:cNvPr id="47" name="TextBox 174">
              <a:extLst>
                <a:ext uri="{FF2B5EF4-FFF2-40B4-BE49-F238E27FC236}">
                  <a16:creationId xmlns:a16="http://schemas.microsoft.com/office/drawing/2014/main" id="{D2B4B61A-5A21-0DF8-104A-F2B22D9C343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99578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방문점검 요청 버튼</a:t>
              </a:r>
              <a:endPara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  <p:sp>
          <p:nvSpPr>
            <p:cNvPr id="48" name="모서리가 둥근 직사각형 84">
              <a:extLst>
                <a:ext uri="{FF2B5EF4-FFF2-40B4-BE49-F238E27FC236}">
                  <a16:creationId xmlns:a16="http://schemas.microsoft.com/office/drawing/2014/main" id="{1E5FB998-44D6-30CF-921E-D9A8E9F71535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3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49" name="TextBox 174">
            <a:extLst>
              <a:ext uri="{FF2B5EF4-FFF2-40B4-BE49-F238E27FC236}">
                <a16:creationId xmlns:a16="http://schemas.microsoft.com/office/drawing/2014/main" id="{3896859E-C373-2369-855C-1520CC95DCD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82973" y="3152925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클릭 시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[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방문점검 요청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]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화면으로 이동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</p:txBody>
      </p:sp>
      <p:sp>
        <p:nvSpPr>
          <p:cNvPr id="50" name="모서리가 둥근 직사각형 84">
            <a:extLst>
              <a:ext uri="{FF2B5EF4-FFF2-40B4-BE49-F238E27FC236}">
                <a16:creationId xmlns:a16="http://schemas.microsoft.com/office/drawing/2014/main" id="{9EE1EB8A-69DF-7D3B-8C87-5CE20C397FAF}"/>
              </a:ext>
            </a:extLst>
          </p:cNvPr>
          <p:cNvSpPr/>
          <p:nvPr/>
        </p:nvSpPr>
        <p:spPr>
          <a:xfrm>
            <a:off x="2767077" y="2619934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4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8930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C5286BA-92CE-41FB-BB05-BE0F5BBA1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err="1"/>
              <a:t>마이데이터</a:t>
            </a:r>
            <a:endParaRPr lang="ko-KR" altLang="en-US" dirty="0"/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B73B35C2-EB8A-4573-B037-7CC6DF06F86A}"/>
              </a:ext>
            </a:extLst>
          </p:cNvPr>
          <p:cNvGrpSpPr/>
          <p:nvPr/>
        </p:nvGrpSpPr>
        <p:grpSpPr>
          <a:xfrm>
            <a:off x="0" y="-3562"/>
            <a:ext cx="9226508" cy="6816938"/>
            <a:chOff x="-1952021" y="-3562"/>
            <a:chExt cx="9226508" cy="6816938"/>
          </a:xfrm>
        </p:grpSpPr>
        <p:cxnSp>
          <p:nvCxnSpPr>
            <p:cNvPr id="6" name="직선 연결선 5">
              <a:extLst>
                <a:ext uri="{FF2B5EF4-FFF2-40B4-BE49-F238E27FC236}">
                  <a16:creationId xmlns:a16="http://schemas.microsoft.com/office/drawing/2014/main" id="{B4C45666-B8F5-4C50-86A6-C4C0BE1D6FE0}"/>
                </a:ext>
              </a:extLst>
            </p:cNvPr>
            <p:cNvCxnSpPr>
              <a:cxnSpLocks/>
            </p:cNvCxnSpPr>
            <p:nvPr/>
          </p:nvCxnSpPr>
          <p:spPr>
            <a:xfrm>
              <a:off x="7257256" y="-3562"/>
              <a:ext cx="0" cy="6816938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직선 연결선 6">
              <a:extLst>
                <a:ext uri="{FF2B5EF4-FFF2-40B4-BE49-F238E27FC236}">
                  <a16:creationId xmlns:a16="http://schemas.microsoft.com/office/drawing/2014/main" id="{4860EB04-C536-404F-98C0-823E8ADC86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1952021" y="1563825"/>
              <a:ext cx="9226508" cy="0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0B76F625-D0A3-4C9E-8D76-BC231976DDDC}"/>
              </a:ext>
            </a:extLst>
          </p:cNvPr>
          <p:cNvGrpSpPr/>
          <p:nvPr/>
        </p:nvGrpSpPr>
        <p:grpSpPr>
          <a:xfrm>
            <a:off x="479376" y="908720"/>
            <a:ext cx="6759312" cy="338554"/>
            <a:chOff x="479376" y="-963488"/>
            <a:chExt cx="6759312" cy="338554"/>
          </a:xfrm>
        </p:grpSpPr>
        <p:sp>
          <p:nvSpPr>
            <p:cNvPr id="9" name="사각형: 둥근 모서리 8">
              <a:extLst>
                <a:ext uri="{FF2B5EF4-FFF2-40B4-BE49-F238E27FC236}">
                  <a16:creationId xmlns:a16="http://schemas.microsoft.com/office/drawing/2014/main" id="{F66EE92C-BEAA-4A28-9FFE-528E99678B1D}"/>
                </a:ext>
              </a:extLst>
            </p:cNvPr>
            <p:cNvSpPr/>
            <p:nvPr/>
          </p:nvSpPr>
          <p:spPr>
            <a:xfrm>
              <a:off x="479376" y="-946863"/>
              <a:ext cx="590358" cy="305304"/>
            </a:xfrm>
            <a:prstGeom prst="roundRect">
              <a:avLst>
                <a:gd name="adj" fmla="val 50000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>
                      <a:alpha val="50000"/>
                    </a:schemeClr>
                  </a:solidFill>
                  <a:latin typeface="+mn-ea"/>
                  <a:cs typeface="Arial" panose="020B0604020202020204" pitchFamily="34" charset="0"/>
                </a:rPr>
                <a:t>0</a:t>
              </a:r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C8869CF-0725-41FD-AE4C-2AF26212AA85}"/>
                </a:ext>
              </a:extLst>
            </p:cNvPr>
            <p:cNvSpPr txBox="1"/>
            <p:nvPr/>
          </p:nvSpPr>
          <p:spPr>
            <a:xfrm>
              <a:off x="1127448" y="-963488"/>
              <a:ext cx="6111240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R="0" indent="0" algn="just" fontAlgn="base" latinLnBrk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 sz="1600" kern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defRPr>
              </a:lvl1pPr>
            </a:lstStyle>
            <a:p>
              <a:r>
                <a:rPr lang="ko-KR" altLang="en-US" dirty="0"/>
                <a:t>영수증 </a:t>
              </a:r>
              <a:r>
                <a:rPr lang="ko-KR" altLang="en-US"/>
                <a:t>조회 </a:t>
              </a:r>
              <a:r>
                <a:rPr lang="en-US" altLang="ko-KR" dirty="0"/>
                <a:t>– </a:t>
              </a:r>
              <a:r>
                <a:rPr lang="ko-KR" altLang="en-US" dirty="0"/>
                <a:t>사업자 </a:t>
              </a:r>
              <a:r>
                <a:rPr lang="ko-KR" altLang="en-US"/>
                <a:t>동의 영수증</a:t>
              </a:r>
              <a:endParaRPr lang="en-US" altLang="ko-KR" dirty="0"/>
            </a:p>
          </p:txBody>
        </p:sp>
      </p:grpSp>
      <p:pic>
        <p:nvPicPr>
          <p:cNvPr id="13" name="그림 12" descr="텍스트, 스크린샷, 폰트, 번호이(가) 표시된 사진&#10;&#10;자동 생성된 설명">
            <a:extLst>
              <a:ext uri="{FF2B5EF4-FFF2-40B4-BE49-F238E27FC236}">
                <a16:creationId xmlns:a16="http://schemas.microsoft.com/office/drawing/2014/main" id="{DF06E9AF-9AEE-6185-5C3C-20A26BA9AF72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597600" y="2062800"/>
            <a:ext cx="2052000" cy="4294800"/>
          </a:xfrm>
          <a:prstGeom prst="rect">
            <a:avLst/>
          </a:prstGeom>
        </p:spPr>
      </p:pic>
      <p:pic>
        <p:nvPicPr>
          <p:cNvPr id="15" name="그림 14" descr="텍스트, 소프트웨어, 웹 페이지, 웹사이트이(가) 표시된 사진&#10;&#10;자동 생성된 설명">
            <a:extLst>
              <a:ext uri="{FF2B5EF4-FFF2-40B4-BE49-F238E27FC236}">
                <a16:creationId xmlns:a16="http://schemas.microsoft.com/office/drawing/2014/main" id="{9B6F3FAF-3C14-73A9-0307-6EE6CDA858A8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2880000" y="2062800"/>
            <a:ext cx="2052000" cy="4294800"/>
          </a:xfrm>
          <a:prstGeom prst="rect">
            <a:avLst/>
          </a:prstGeom>
        </p:spPr>
      </p:pic>
      <p:grpSp>
        <p:nvGrpSpPr>
          <p:cNvPr id="3" name="그룹 2">
            <a:extLst>
              <a:ext uri="{FF2B5EF4-FFF2-40B4-BE49-F238E27FC236}">
                <a16:creationId xmlns:a16="http://schemas.microsoft.com/office/drawing/2014/main" id="{DE84B514-A838-5E2F-0123-2639B2E0B9F2}"/>
              </a:ext>
            </a:extLst>
          </p:cNvPr>
          <p:cNvGrpSpPr/>
          <p:nvPr/>
        </p:nvGrpSpPr>
        <p:grpSpPr>
          <a:xfrm>
            <a:off x="9298894" y="260648"/>
            <a:ext cx="1057890" cy="230832"/>
            <a:chOff x="7316687" y="3282664"/>
            <a:chExt cx="1057890" cy="230832"/>
          </a:xfrm>
        </p:grpSpPr>
        <p:sp>
          <p:nvSpPr>
            <p:cNvPr id="14" name="TextBox 174">
              <a:extLst>
                <a:ext uri="{FF2B5EF4-FFF2-40B4-BE49-F238E27FC236}">
                  <a16:creationId xmlns:a16="http://schemas.microsoft.com/office/drawing/2014/main" id="{4ECE3A3F-117E-4667-D674-39DA0421B38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88357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ore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영수증 종류 선택</a:t>
              </a:r>
              <a:endPara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  <p:sp>
          <p:nvSpPr>
            <p:cNvPr id="16" name="모서리가 둥근 직사각형 84">
              <a:extLst>
                <a:ext uri="{FF2B5EF4-FFF2-40B4-BE49-F238E27FC236}">
                  <a16:creationId xmlns:a16="http://schemas.microsoft.com/office/drawing/2014/main" id="{21B020F0-8B47-50D8-64CE-99742B0EBC46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1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17" name="TextBox 174">
            <a:extLst>
              <a:ext uri="{FF2B5EF4-FFF2-40B4-BE49-F238E27FC236}">
                <a16:creationId xmlns:a16="http://schemas.microsoft.com/office/drawing/2014/main" id="{497C45C2-EEA9-0269-9043-8ACF3A6A28A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53543" y="498371"/>
            <a:ext cx="2573667" cy="9387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전체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사업자 동의 영수증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수집 영수증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공유 영수증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내려받기 영수증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</p:txBody>
      </p:sp>
      <p:grpSp>
        <p:nvGrpSpPr>
          <p:cNvPr id="18" name="그룹 17">
            <a:extLst>
              <a:ext uri="{FF2B5EF4-FFF2-40B4-BE49-F238E27FC236}">
                <a16:creationId xmlns:a16="http://schemas.microsoft.com/office/drawing/2014/main" id="{4ED21673-287C-E329-9921-6913E4BC9EC0}"/>
              </a:ext>
            </a:extLst>
          </p:cNvPr>
          <p:cNvGrpSpPr/>
          <p:nvPr/>
        </p:nvGrpSpPr>
        <p:grpSpPr>
          <a:xfrm>
            <a:off x="9293626" y="1584467"/>
            <a:ext cx="1263075" cy="230832"/>
            <a:chOff x="7316687" y="3282664"/>
            <a:chExt cx="1263075" cy="230832"/>
          </a:xfrm>
        </p:grpSpPr>
        <p:sp>
          <p:nvSpPr>
            <p:cNvPr id="19" name="TextBox 174">
              <a:extLst>
                <a:ext uri="{FF2B5EF4-FFF2-40B4-BE49-F238E27FC236}">
                  <a16:creationId xmlns:a16="http://schemas.microsoft.com/office/drawing/2014/main" id="{03BABC07-19FD-1E79-2849-D1CC8251627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1088760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ore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영수증 조회 날짜 선택</a:t>
              </a:r>
              <a:endPara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  <p:sp>
          <p:nvSpPr>
            <p:cNvPr id="20" name="모서리가 둥근 직사각형 84">
              <a:extLst>
                <a:ext uri="{FF2B5EF4-FFF2-40B4-BE49-F238E27FC236}">
                  <a16:creationId xmlns:a16="http://schemas.microsoft.com/office/drawing/2014/main" id="{2C4D514D-8917-A1F8-D325-7B3E6FFB8FF6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2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1" name="TextBox 174">
            <a:extLst>
              <a:ext uri="{FF2B5EF4-FFF2-40B4-BE49-F238E27FC236}">
                <a16:creationId xmlns:a16="http://schemas.microsoft.com/office/drawing/2014/main" id="{FE9E8428-F959-5E05-9003-8AB97A1963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54398" y="1804754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전체기간</a:t>
            </a:r>
            <a:r>
              <a:rPr lang="en-US" altLang="ko-Kore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</a:t>
            </a: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혹은 월 별로 영수증 조회 가능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</p:txBody>
      </p:sp>
      <p:grpSp>
        <p:nvGrpSpPr>
          <p:cNvPr id="22" name="그룹 21">
            <a:extLst>
              <a:ext uri="{FF2B5EF4-FFF2-40B4-BE49-F238E27FC236}">
                <a16:creationId xmlns:a16="http://schemas.microsoft.com/office/drawing/2014/main" id="{527F261A-0460-7631-B119-7EB70DD1C0C8}"/>
              </a:ext>
            </a:extLst>
          </p:cNvPr>
          <p:cNvGrpSpPr/>
          <p:nvPr/>
        </p:nvGrpSpPr>
        <p:grpSpPr>
          <a:xfrm>
            <a:off x="9298894" y="3301125"/>
            <a:ext cx="2083812" cy="230832"/>
            <a:chOff x="7316687" y="3842048"/>
            <a:chExt cx="2083812" cy="230832"/>
          </a:xfrm>
        </p:grpSpPr>
        <p:sp>
          <p:nvSpPr>
            <p:cNvPr id="23" name="TextBox 174">
              <a:extLst>
                <a:ext uri="{FF2B5EF4-FFF2-40B4-BE49-F238E27FC236}">
                  <a16:creationId xmlns:a16="http://schemas.microsoft.com/office/drawing/2014/main" id="{34997987-9A7C-30D3-9A8E-2011AA8BEBD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842048"/>
              <a:ext cx="1909497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ore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사업자 동의 영수증 상세 화면  아이콘 버튼</a:t>
              </a:r>
              <a:endPara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  <p:sp>
          <p:nvSpPr>
            <p:cNvPr id="24" name="모서리가 둥근 직사각형 84">
              <a:extLst>
                <a:ext uri="{FF2B5EF4-FFF2-40B4-BE49-F238E27FC236}">
                  <a16:creationId xmlns:a16="http://schemas.microsoft.com/office/drawing/2014/main" id="{33D9E7E4-FB1D-FB79-21B8-46C994DBB744}"/>
                </a:ext>
              </a:extLst>
            </p:cNvPr>
            <p:cNvSpPr/>
            <p:nvPr/>
          </p:nvSpPr>
          <p:spPr>
            <a:xfrm>
              <a:off x="7316687" y="3877294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4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9" name="모서리가 둥근 직사각형 84">
            <a:extLst>
              <a:ext uri="{FF2B5EF4-FFF2-40B4-BE49-F238E27FC236}">
                <a16:creationId xmlns:a16="http://schemas.microsoft.com/office/drawing/2014/main" id="{44F532C5-82AA-6E53-C61C-7E092831B100}"/>
              </a:ext>
            </a:extLst>
          </p:cNvPr>
          <p:cNvSpPr/>
          <p:nvPr/>
        </p:nvSpPr>
        <p:spPr>
          <a:xfrm>
            <a:off x="855700" y="2400413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1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30" name="모서리가 둥근 직사각형 84">
            <a:extLst>
              <a:ext uri="{FF2B5EF4-FFF2-40B4-BE49-F238E27FC236}">
                <a16:creationId xmlns:a16="http://schemas.microsoft.com/office/drawing/2014/main" id="{23378F51-F7B5-43C3-93BD-47C852795CB1}"/>
              </a:ext>
            </a:extLst>
          </p:cNvPr>
          <p:cNvSpPr/>
          <p:nvPr/>
        </p:nvSpPr>
        <p:spPr>
          <a:xfrm>
            <a:off x="855699" y="2700192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2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31" name="모서리가 둥근 직사각형 84">
            <a:extLst>
              <a:ext uri="{FF2B5EF4-FFF2-40B4-BE49-F238E27FC236}">
                <a16:creationId xmlns:a16="http://schemas.microsoft.com/office/drawing/2014/main" id="{59BE6CAD-58C9-103E-AE96-72EEB870B4BB}"/>
              </a:ext>
            </a:extLst>
          </p:cNvPr>
          <p:cNvSpPr/>
          <p:nvPr/>
        </p:nvSpPr>
        <p:spPr>
          <a:xfrm>
            <a:off x="2059427" y="3002558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4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32" name="TextBox 174">
            <a:extLst>
              <a:ext uri="{FF2B5EF4-FFF2-40B4-BE49-F238E27FC236}">
                <a16:creationId xmlns:a16="http://schemas.microsoft.com/office/drawing/2014/main" id="{9AFD1AE3-0C1E-3C0F-58C0-084040DCC9A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64352" y="3542819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클릭 시</a:t>
            </a:r>
            <a:r>
              <a:rPr lang="en-US" altLang="ko-Kore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[</a:t>
            </a: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사업자 동의 영수증 상세화면</a:t>
            </a:r>
            <a:r>
              <a:rPr lang="en-US" altLang="ko-Kore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]</a:t>
            </a: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으로 이동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</p:txBody>
      </p:sp>
      <p:sp>
        <p:nvSpPr>
          <p:cNvPr id="33" name="TextBox 174">
            <a:extLst>
              <a:ext uri="{FF2B5EF4-FFF2-40B4-BE49-F238E27FC236}">
                <a16:creationId xmlns:a16="http://schemas.microsoft.com/office/drawing/2014/main" id="{44AD62DC-8E8E-84FF-A712-D7A8658CEB2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478667" y="2238980"/>
            <a:ext cx="678391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ko-Kore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영수증 목록</a:t>
            </a:r>
            <a:endParaRPr lang="ko-KR" altLang="en-US" sz="900" b="1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sp>
        <p:nvSpPr>
          <p:cNvPr id="34" name="모서리가 둥근 직사각형 84">
            <a:extLst>
              <a:ext uri="{FF2B5EF4-FFF2-40B4-BE49-F238E27FC236}">
                <a16:creationId xmlns:a16="http://schemas.microsoft.com/office/drawing/2014/main" id="{86B63BC3-A87C-C923-89DF-301A73DA3C3F}"/>
              </a:ext>
            </a:extLst>
          </p:cNvPr>
          <p:cNvSpPr/>
          <p:nvPr/>
        </p:nvSpPr>
        <p:spPr>
          <a:xfrm>
            <a:off x="9304352" y="2274226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3</a:t>
            </a:r>
            <a:endParaRPr lang="ko-KR" altLang="en-US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37" name="TextBox 174">
            <a:extLst>
              <a:ext uri="{FF2B5EF4-FFF2-40B4-BE49-F238E27FC236}">
                <a16:creationId xmlns:a16="http://schemas.microsoft.com/office/drawing/2014/main" id="{F4A268F2-A0B0-2CAE-764A-040620187D2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53543" y="2476266"/>
            <a:ext cx="2573667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영수증 종류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영수증  발행 구분</a:t>
            </a:r>
            <a:r>
              <a:rPr lang="en-US" altLang="ko-Kore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(</a:t>
            </a: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동의</a:t>
            </a:r>
            <a:r>
              <a:rPr lang="en-US" altLang="ko-Kore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철회</a:t>
            </a:r>
            <a:r>
              <a:rPr lang="en-US" altLang="ko-Kore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변경 등</a:t>
            </a:r>
            <a:r>
              <a:rPr lang="en-US" altLang="ko-Kore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)</a:t>
            </a: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발행 일시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</p:txBody>
      </p:sp>
      <p:sp>
        <p:nvSpPr>
          <p:cNvPr id="38" name="모서리가 둥근 직사각형 84">
            <a:extLst>
              <a:ext uri="{FF2B5EF4-FFF2-40B4-BE49-F238E27FC236}">
                <a16:creationId xmlns:a16="http://schemas.microsoft.com/office/drawing/2014/main" id="{D5A91F94-56AE-EBD4-CA67-826E63CDF7CE}"/>
              </a:ext>
            </a:extLst>
          </p:cNvPr>
          <p:cNvSpPr/>
          <p:nvPr/>
        </p:nvSpPr>
        <p:spPr>
          <a:xfrm>
            <a:off x="619395" y="2977211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3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39" name="모서리가 둥근 직사각형 84">
            <a:extLst>
              <a:ext uri="{FF2B5EF4-FFF2-40B4-BE49-F238E27FC236}">
                <a16:creationId xmlns:a16="http://schemas.microsoft.com/office/drawing/2014/main" id="{CE269D72-C5A9-E231-B417-7A5CE9052584}"/>
              </a:ext>
            </a:extLst>
          </p:cNvPr>
          <p:cNvSpPr/>
          <p:nvPr/>
        </p:nvSpPr>
        <p:spPr>
          <a:xfrm>
            <a:off x="3170044" y="2901858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5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grpSp>
        <p:nvGrpSpPr>
          <p:cNvPr id="40" name="그룹 39">
            <a:extLst>
              <a:ext uri="{FF2B5EF4-FFF2-40B4-BE49-F238E27FC236}">
                <a16:creationId xmlns:a16="http://schemas.microsoft.com/office/drawing/2014/main" id="{8FFE619C-AE49-4789-FFEF-A19118271239}"/>
              </a:ext>
            </a:extLst>
          </p:cNvPr>
          <p:cNvGrpSpPr/>
          <p:nvPr/>
        </p:nvGrpSpPr>
        <p:grpSpPr>
          <a:xfrm>
            <a:off x="9300563" y="3933056"/>
            <a:ext cx="1383300" cy="230832"/>
            <a:chOff x="7316687" y="3282664"/>
            <a:chExt cx="1383300" cy="230832"/>
          </a:xfrm>
        </p:grpSpPr>
        <p:sp>
          <p:nvSpPr>
            <p:cNvPr id="41" name="TextBox 174">
              <a:extLst>
                <a:ext uri="{FF2B5EF4-FFF2-40B4-BE49-F238E27FC236}">
                  <a16:creationId xmlns:a16="http://schemas.microsoft.com/office/drawing/2014/main" id="{8E9166AD-66E7-A603-F466-33AB6AE6D10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120898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사업자 동의 영수증 상세</a:t>
              </a:r>
            </a:p>
          </p:txBody>
        </p:sp>
        <p:sp>
          <p:nvSpPr>
            <p:cNvPr id="42" name="모서리가 둥근 직사각형 84">
              <a:extLst>
                <a:ext uri="{FF2B5EF4-FFF2-40B4-BE49-F238E27FC236}">
                  <a16:creationId xmlns:a16="http://schemas.microsoft.com/office/drawing/2014/main" id="{44DDEEDE-08E0-68EF-3355-DFBE11184350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5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43" name="TextBox 174">
            <a:extLst>
              <a:ext uri="{FF2B5EF4-FFF2-40B4-BE49-F238E27FC236}">
                <a16:creationId xmlns:a16="http://schemas.microsoft.com/office/drawing/2014/main" id="{5A351B1E-E462-3A9C-01B7-D6BAA391DF7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54326" y="4219807"/>
            <a:ext cx="2573667" cy="1292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영수증 </a:t>
            </a:r>
            <a:r>
              <a:rPr lang="en-US" altLang="ko-Kore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ID</a:t>
            </a: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동의 여부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구분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일시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동의자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동의 </a:t>
            </a:r>
            <a:r>
              <a:rPr lang="ko-KR" altLang="en-US" sz="900" spc="-150" dirty="0" err="1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요청자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개인 데이터 항목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활용 목적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보유 및 이용 기간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발행기관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</p:txBody>
      </p:sp>
      <p:sp>
        <p:nvSpPr>
          <p:cNvPr id="44" name="모서리가 둥근 직사각형 84">
            <a:extLst>
              <a:ext uri="{FF2B5EF4-FFF2-40B4-BE49-F238E27FC236}">
                <a16:creationId xmlns:a16="http://schemas.microsoft.com/office/drawing/2014/main" id="{FA7DDE71-0945-06FB-74FC-CC8778F048A3}"/>
              </a:ext>
            </a:extLst>
          </p:cNvPr>
          <p:cNvSpPr/>
          <p:nvPr/>
        </p:nvSpPr>
        <p:spPr>
          <a:xfrm>
            <a:off x="3161597" y="4885026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6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grpSp>
        <p:nvGrpSpPr>
          <p:cNvPr id="45" name="그룹 44">
            <a:extLst>
              <a:ext uri="{FF2B5EF4-FFF2-40B4-BE49-F238E27FC236}">
                <a16:creationId xmlns:a16="http://schemas.microsoft.com/office/drawing/2014/main" id="{B7C4DE66-6829-1F78-9D8A-D0A73592316E}"/>
              </a:ext>
            </a:extLst>
          </p:cNvPr>
          <p:cNvGrpSpPr/>
          <p:nvPr/>
        </p:nvGrpSpPr>
        <p:grpSpPr>
          <a:xfrm>
            <a:off x="9298894" y="5650319"/>
            <a:ext cx="948886" cy="230832"/>
            <a:chOff x="7316687" y="3842048"/>
            <a:chExt cx="948886" cy="230832"/>
          </a:xfrm>
        </p:grpSpPr>
        <p:sp>
          <p:nvSpPr>
            <p:cNvPr id="46" name="TextBox 174">
              <a:extLst>
                <a:ext uri="{FF2B5EF4-FFF2-40B4-BE49-F238E27FC236}">
                  <a16:creationId xmlns:a16="http://schemas.microsoft.com/office/drawing/2014/main" id="{7AA5AD66-BE81-7B87-22A7-1CE6F901018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842048"/>
              <a:ext cx="774571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ore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내려받기 버튼</a:t>
              </a:r>
              <a:endPara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  <p:sp>
          <p:nvSpPr>
            <p:cNvPr id="47" name="모서리가 둥근 직사각형 84">
              <a:extLst>
                <a:ext uri="{FF2B5EF4-FFF2-40B4-BE49-F238E27FC236}">
                  <a16:creationId xmlns:a16="http://schemas.microsoft.com/office/drawing/2014/main" id="{BC4E050C-D2D7-5069-93A8-E874B5E80AF9}"/>
                </a:ext>
              </a:extLst>
            </p:cNvPr>
            <p:cNvSpPr/>
            <p:nvPr/>
          </p:nvSpPr>
          <p:spPr>
            <a:xfrm>
              <a:off x="7316687" y="3877294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6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48" name="TextBox 174">
            <a:extLst>
              <a:ext uri="{FF2B5EF4-FFF2-40B4-BE49-F238E27FC236}">
                <a16:creationId xmlns:a16="http://schemas.microsoft.com/office/drawing/2014/main" id="{5B2E28A5-C5ED-9E95-F882-851B561D804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64352" y="5892013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클릭 시</a:t>
            </a:r>
            <a:r>
              <a:rPr lang="en-US" altLang="ko-Kore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해당 영수증 다운로드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992746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C5286BA-92CE-41FB-BB05-BE0F5BBA1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err="1"/>
              <a:t>마이데이터</a:t>
            </a:r>
            <a:endParaRPr lang="ko-KR" altLang="en-US" dirty="0"/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B73B35C2-EB8A-4573-B037-7CC6DF06F86A}"/>
              </a:ext>
            </a:extLst>
          </p:cNvPr>
          <p:cNvGrpSpPr/>
          <p:nvPr/>
        </p:nvGrpSpPr>
        <p:grpSpPr>
          <a:xfrm>
            <a:off x="0" y="-3562"/>
            <a:ext cx="9226508" cy="6816938"/>
            <a:chOff x="-1952021" y="-3562"/>
            <a:chExt cx="9226508" cy="6816938"/>
          </a:xfrm>
        </p:grpSpPr>
        <p:cxnSp>
          <p:nvCxnSpPr>
            <p:cNvPr id="6" name="직선 연결선 5">
              <a:extLst>
                <a:ext uri="{FF2B5EF4-FFF2-40B4-BE49-F238E27FC236}">
                  <a16:creationId xmlns:a16="http://schemas.microsoft.com/office/drawing/2014/main" id="{B4C45666-B8F5-4C50-86A6-C4C0BE1D6FE0}"/>
                </a:ext>
              </a:extLst>
            </p:cNvPr>
            <p:cNvCxnSpPr>
              <a:cxnSpLocks/>
            </p:cNvCxnSpPr>
            <p:nvPr/>
          </p:nvCxnSpPr>
          <p:spPr>
            <a:xfrm>
              <a:off x="7257256" y="-3562"/>
              <a:ext cx="0" cy="6816938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직선 연결선 6">
              <a:extLst>
                <a:ext uri="{FF2B5EF4-FFF2-40B4-BE49-F238E27FC236}">
                  <a16:creationId xmlns:a16="http://schemas.microsoft.com/office/drawing/2014/main" id="{4860EB04-C536-404F-98C0-823E8ADC86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1952021" y="1563825"/>
              <a:ext cx="9226508" cy="0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0B76F625-D0A3-4C9E-8D76-BC231976DDDC}"/>
              </a:ext>
            </a:extLst>
          </p:cNvPr>
          <p:cNvGrpSpPr/>
          <p:nvPr/>
        </p:nvGrpSpPr>
        <p:grpSpPr>
          <a:xfrm>
            <a:off x="479376" y="908720"/>
            <a:ext cx="6759312" cy="338554"/>
            <a:chOff x="479376" y="-963488"/>
            <a:chExt cx="6759312" cy="338554"/>
          </a:xfrm>
        </p:grpSpPr>
        <p:sp>
          <p:nvSpPr>
            <p:cNvPr id="9" name="사각형: 둥근 모서리 8">
              <a:extLst>
                <a:ext uri="{FF2B5EF4-FFF2-40B4-BE49-F238E27FC236}">
                  <a16:creationId xmlns:a16="http://schemas.microsoft.com/office/drawing/2014/main" id="{F66EE92C-BEAA-4A28-9FFE-528E99678B1D}"/>
                </a:ext>
              </a:extLst>
            </p:cNvPr>
            <p:cNvSpPr/>
            <p:nvPr/>
          </p:nvSpPr>
          <p:spPr>
            <a:xfrm>
              <a:off x="479376" y="-946863"/>
              <a:ext cx="590358" cy="305304"/>
            </a:xfrm>
            <a:prstGeom prst="roundRect">
              <a:avLst>
                <a:gd name="adj" fmla="val 50000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>
                      <a:alpha val="50000"/>
                    </a:schemeClr>
                  </a:solidFill>
                  <a:latin typeface="+mn-ea"/>
                  <a:cs typeface="Arial" panose="020B0604020202020204" pitchFamily="34" charset="0"/>
                </a:rPr>
                <a:t>0</a:t>
              </a:r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C8869CF-0725-41FD-AE4C-2AF26212AA85}"/>
                </a:ext>
              </a:extLst>
            </p:cNvPr>
            <p:cNvSpPr txBox="1"/>
            <p:nvPr/>
          </p:nvSpPr>
          <p:spPr>
            <a:xfrm>
              <a:off x="1127448" y="-963488"/>
              <a:ext cx="6111240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R="0" indent="0" algn="just" fontAlgn="base" latinLnBrk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 sz="1600" kern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defRPr>
              </a:lvl1pPr>
            </a:lstStyle>
            <a:p>
              <a:r>
                <a:rPr lang="ko-KR" altLang="en-US" dirty="0"/>
                <a:t>영수증 </a:t>
              </a:r>
              <a:r>
                <a:rPr lang="ko-KR" altLang="en-US"/>
                <a:t>조회 </a:t>
              </a:r>
              <a:r>
                <a:rPr lang="en-US" altLang="ko-KR" dirty="0"/>
                <a:t>– </a:t>
              </a:r>
              <a:r>
                <a:rPr lang="ko-KR" altLang="en-US"/>
                <a:t>수집 영수증</a:t>
              </a:r>
              <a:endParaRPr lang="en-US" altLang="ko-KR" dirty="0"/>
            </a:p>
          </p:txBody>
        </p:sp>
      </p:grpSp>
      <p:pic>
        <p:nvPicPr>
          <p:cNvPr id="4" name="그림 3" descr="텍스트, 스크린샷, 폰트, 소프트웨어이(가) 표시된 사진&#10;&#10;자동 생성된 설명">
            <a:extLst>
              <a:ext uri="{FF2B5EF4-FFF2-40B4-BE49-F238E27FC236}">
                <a16:creationId xmlns:a16="http://schemas.microsoft.com/office/drawing/2014/main" id="{AE813073-84B4-3C8F-79D8-41F6286505FF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597600" y="2062800"/>
            <a:ext cx="2052000" cy="4294800"/>
          </a:xfrm>
          <a:prstGeom prst="rect">
            <a:avLst/>
          </a:prstGeom>
        </p:spPr>
      </p:pic>
      <p:pic>
        <p:nvPicPr>
          <p:cNvPr id="14" name="그림 13" descr="텍스트, 소프트웨어, 웹 페이지, 웹사이트이(가) 표시된 사진&#10;&#10;자동 생성된 설명">
            <a:extLst>
              <a:ext uri="{FF2B5EF4-FFF2-40B4-BE49-F238E27FC236}">
                <a16:creationId xmlns:a16="http://schemas.microsoft.com/office/drawing/2014/main" id="{65C679AC-6256-D038-1750-34735DDE1689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2880000" y="2062800"/>
            <a:ext cx="2052000" cy="4294800"/>
          </a:xfrm>
          <a:prstGeom prst="rect">
            <a:avLst/>
          </a:prstGeom>
        </p:spPr>
      </p:pic>
      <p:sp>
        <p:nvSpPr>
          <p:cNvPr id="3" name="모서리가 둥근 직사각형 84">
            <a:extLst>
              <a:ext uri="{FF2B5EF4-FFF2-40B4-BE49-F238E27FC236}">
                <a16:creationId xmlns:a16="http://schemas.microsoft.com/office/drawing/2014/main" id="{8E2E1413-E543-F80A-2457-1ADDD6F0B941}"/>
              </a:ext>
            </a:extLst>
          </p:cNvPr>
          <p:cNvSpPr/>
          <p:nvPr/>
        </p:nvSpPr>
        <p:spPr>
          <a:xfrm>
            <a:off x="855700" y="2400413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1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13" name="모서리가 둥근 직사각형 84">
            <a:extLst>
              <a:ext uri="{FF2B5EF4-FFF2-40B4-BE49-F238E27FC236}">
                <a16:creationId xmlns:a16="http://schemas.microsoft.com/office/drawing/2014/main" id="{E02076D8-A932-4DA5-03B3-8FFD9570422B}"/>
              </a:ext>
            </a:extLst>
          </p:cNvPr>
          <p:cNvSpPr/>
          <p:nvPr/>
        </p:nvSpPr>
        <p:spPr>
          <a:xfrm>
            <a:off x="855699" y="2700192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2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15" name="모서리가 둥근 직사각형 84">
            <a:extLst>
              <a:ext uri="{FF2B5EF4-FFF2-40B4-BE49-F238E27FC236}">
                <a16:creationId xmlns:a16="http://schemas.microsoft.com/office/drawing/2014/main" id="{BC3945E9-B084-9D0F-6D8B-8B8B57694CB2}"/>
              </a:ext>
            </a:extLst>
          </p:cNvPr>
          <p:cNvSpPr/>
          <p:nvPr/>
        </p:nvSpPr>
        <p:spPr>
          <a:xfrm>
            <a:off x="2059427" y="3002558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4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16" name="모서리가 둥근 직사각형 84">
            <a:extLst>
              <a:ext uri="{FF2B5EF4-FFF2-40B4-BE49-F238E27FC236}">
                <a16:creationId xmlns:a16="http://schemas.microsoft.com/office/drawing/2014/main" id="{209C72AF-E2B2-7753-F8E6-D939FECEAF69}"/>
              </a:ext>
            </a:extLst>
          </p:cNvPr>
          <p:cNvSpPr/>
          <p:nvPr/>
        </p:nvSpPr>
        <p:spPr>
          <a:xfrm>
            <a:off x="619395" y="2977211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3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17" name="모서리가 둥근 직사각형 84">
            <a:extLst>
              <a:ext uri="{FF2B5EF4-FFF2-40B4-BE49-F238E27FC236}">
                <a16:creationId xmlns:a16="http://schemas.microsoft.com/office/drawing/2014/main" id="{57E4DAFE-389D-9E1C-9ECC-1BED8253D4FA}"/>
              </a:ext>
            </a:extLst>
          </p:cNvPr>
          <p:cNvSpPr/>
          <p:nvPr/>
        </p:nvSpPr>
        <p:spPr>
          <a:xfrm>
            <a:off x="3170044" y="2901858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5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18" name="모서리가 둥근 직사각형 84">
            <a:extLst>
              <a:ext uri="{FF2B5EF4-FFF2-40B4-BE49-F238E27FC236}">
                <a16:creationId xmlns:a16="http://schemas.microsoft.com/office/drawing/2014/main" id="{7A23E094-D016-D301-E0D0-A8B718734E71}"/>
              </a:ext>
            </a:extLst>
          </p:cNvPr>
          <p:cNvSpPr/>
          <p:nvPr/>
        </p:nvSpPr>
        <p:spPr>
          <a:xfrm>
            <a:off x="3109493" y="4365104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6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grpSp>
        <p:nvGrpSpPr>
          <p:cNvPr id="19" name="그룹 18">
            <a:extLst>
              <a:ext uri="{FF2B5EF4-FFF2-40B4-BE49-F238E27FC236}">
                <a16:creationId xmlns:a16="http://schemas.microsoft.com/office/drawing/2014/main" id="{A911DB3C-71BD-18FE-2D8A-63397257FE36}"/>
              </a:ext>
            </a:extLst>
          </p:cNvPr>
          <p:cNvGrpSpPr/>
          <p:nvPr/>
        </p:nvGrpSpPr>
        <p:grpSpPr>
          <a:xfrm>
            <a:off x="9298894" y="260648"/>
            <a:ext cx="1057890" cy="230832"/>
            <a:chOff x="7316687" y="3282664"/>
            <a:chExt cx="1057890" cy="230832"/>
          </a:xfrm>
        </p:grpSpPr>
        <p:sp>
          <p:nvSpPr>
            <p:cNvPr id="20" name="TextBox 174">
              <a:extLst>
                <a:ext uri="{FF2B5EF4-FFF2-40B4-BE49-F238E27FC236}">
                  <a16:creationId xmlns:a16="http://schemas.microsoft.com/office/drawing/2014/main" id="{5522FB1D-59D7-7DF9-B604-DCEF5655675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88357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ore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영수증 종류 선택</a:t>
              </a:r>
              <a:endPara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  <p:sp>
          <p:nvSpPr>
            <p:cNvPr id="21" name="모서리가 둥근 직사각형 84">
              <a:extLst>
                <a:ext uri="{FF2B5EF4-FFF2-40B4-BE49-F238E27FC236}">
                  <a16:creationId xmlns:a16="http://schemas.microsoft.com/office/drawing/2014/main" id="{7E891E5A-B11D-5E26-3861-4D42EB1C7E3A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1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2" name="TextBox 174">
            <a:extLst>
              <a:ext uri="{FF2B5EF4-FFF2-40B4-BE49-F238E27FC236}">
                <a16:creationId xmlns:a16="http://schemas.microsoft.com/office/drawing/2014/main" id="{607CED3F-C60A-6311-87CF-3C8C53A2AD2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53543" y="498371"/>
            <a:ext cx="2573667" cy="9387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전체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사업자 동의 영수증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수집 영수증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공유 영수증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내려받기 영수증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</p:txBody>
      </p:sp>
      <p:grpSp>
        <p:nvGrpSpPr>
          <p:cNvPr id="23" name="그룹 22">
            <a:extLst>
              <a:ext uri="{FF2B5EF4-FFF2-40B4-BE49-F238E27FC236}">
                <a16:creationId xmlns:a16="http://schemas.microsoft.com/office/drawing/2014/main" id="{29B07D23-000F-7BAF-D629-B7DDB3ECCDA2}"/>
              </a:ext>
            </a:extLst>
          </p:cNvPr>
          <p:cNvGrpSpPr/>
          <p:nvPr/>
        </p:nvGrpSpPr>
        <p:grpSpPr>
          <a:xfrm>
            <a:off x="9293626" y="1584467"/>
            <a:ext cx="1263075" cy="230832"/>
            <a:chOff x="7316687" y="3282664"/>
            <a:chExt cx="1263075" cy="230832"/>
          </a:xfrm>
        </p:grpSpPr>
        <p:sp>
          <p:nvSpPr>
            <p:cNvPr id="24" name="TextBox 174">
              <a:extLst>
                <a:ext uri="{FF2B5EF4-FFF2-40B4-BE49-F238E27FC236}">
                  <a16:creationId xmlns:a16="http://schemas.microsoft.com/office/drawing/2014/main" id="{6B672AC3-BF8F-E1E2-40DD-1C86E64F490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1088760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ore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영수증 조회 날짜 선택</a:t>
              </a:r>
              <a:endPara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  <p:sp>
          <p:nvSpPr>
            <p:cNvPr id="25" name="모서리가 둥근 직사각형 84">
              <a:extLst>
                <a:ext uri="{FF2B5EF4-FFF2-40B4-BE49-F238E27FC236}">
                  <a16:creationId xmlns:a16="http://schemas.microsoft.com/office/drawing/2014/main" id="{300D2F7B-D54B-6254-063D-A7A24FD67350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2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6" name="TextBox 174">
            <a:extLst>
              <a:ext uri="{FF2B5EF4-FFF2-40B4-BE49-F238E27FC236}">
                <a16:creationId xmlns:a16="http://schemas.microsoft.com/office/drawing/2014/main" id="{580801DF-97CB-1947-90EE-5091EF92F1E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54398" y="1804754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전체기간</a:t>
            </a:r>
            <a:r>
              <a:rPr lang="en-US" altLang="ko-Kore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</a:t>
            </a: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혹은 월 별로 영수증 조회 가능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</p:txBody>
      </p:sp>
      <p:grpSp>
        <p:nvGrpSpPr>
          <p:cNvPr id="27" name="그룹 26">
            <a:extLst>
              <a:ext uri="{FF2B5EF4-FFF2-40B4-BE49-F238E27FC236}">
                <a16:creationId xmlns:a16="http://schemas.microsoft.com/office/drawing/2014/main" id="{09D97F43-DAB3-786E-2C26-617FD3C702E0}"/>
              </a:ext>
            </a:extLst>
          </p:cNvPr>
          <p:cNvGrpSpPr/>
          <p:nvPr/>
        </p:nvGrpSpPr>
        <p:grpSpPr>
          <a:xfrm>
            <a:off x="9298894" y="3301125"/>
            <a:ext cx="1782448" cy="230832"/>
            <a:chOff x="7316687" y="3842048"/>
            <a:chExt cx="1782448" cy="230832"/>
          </a:xfrm>
        </p:grpSpPr>
        <p:sp>
          <p:nvSpPr>
            <p:cNvPr id="28" name="TextBox 174">
              <a:extLst>
                <a:ext uri="{FF2B5EF4-FFF2-40B4-BE49-F238E27FC236}">
                  <a16:creationId xmlns:a16="http://schemas.microsoft.com/office/drawing/2014/main" id="{4A5060A2-3D19-6E77-8B76-C215CC60120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842048"/>
              <a:ext cx="1608133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ore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수집 영수증 상세 화면  아이콘 버튼</a:t>
              </a:r>
              <a:endPara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  <p:sp>
          <p:nvSpPr>
            <p:cNvPr id="29" name="모서리가 둥근 직사각형 84">
              <a:extLst>
                <a:ext uri="{FF2B5EF4-FFF2-40B4-BE49-F238E27FC236}">
                  <a16:creationId xmlns:a16="http://schemas.microsoft.com/office/drawing/2014/main" id="{260C5865-76C9-553A-385F-0A4317F6C8C8}"/>
                </a:ext>
              </a:extLst>
            </p:cNvPr>
            <p:cNvSpPr/>
            <p:nvPr/>
          </p:nvSpPr>
          <p:spPr>
            <a:xfrm>
              <a:off x="7316687" y="3877294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4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30" name="TextBox 174">
            <a:extLst>
              <a:ext uri="{FF2B5EF4-FFF2-40B4-BE49-F238E27FC236}">
                <a16:creationId xmlns:a16="http://schemas.microsoft.com/office/drawing/2014/main" id="{9BD6C92A-3FBB-B688-0B6F-2A388E5BC0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64352" y="3542819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클릭 시</a:t>
            </a:r>
            <a:r>
              <a:rPr lang="en-US" altLang="ko-Kore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[</a:t>
            </a: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수집영수증 상세화면</a:t>
            </a:r>
            <a:r>
              <a:rPr lang="en-US" altLang="ko-Kore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]</a:t>
            </a: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으로 이동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</p:txBody>
      </p:sp>
      <p:sp>
        <p:nvSpPr>
          <p:cNvPr id="31" name="TextBox 174">
            <a:extLst>
              <a:ext uri="{FF2B5EF4-FFF2-40B4-BE49-F238E27FC236}">
                <a16:creationId xmlns:a16="http://schemas.microsoft.com/office/drawing/2014/main" id="{22CA28E7-A266-2A8D-451F-D775B6185D6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478667" y="2238980"/>
            <a:ext cx="678391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ko-Kore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영수증 목록</a:t>
            </a:r>
            <a:endParaRPr lang="ko-KR" altLang="en-US" sz="900" b="1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sp>
        <p:nvSpPr>
          <p:cNvPr id="32" name="모서리가 둥근 직사각형 84">
            <a:extLst>
              <a:ext uri="{FF2B5EF4-FFF2-40B4-BE49-F238E27FC236}">
                <a16:creationId xmlns:a16="http://schemas.microsoft.com/office/drawing/2014/main" id="{C2A55D97-8FFB-CB0D-90A7-1FC88ADB0CA8}"/>
              </a:ext>
            </a:extLst>
          </p:cNvPr>
          <p:cNvSpPr/>
          <p:nvPr/>
        </p:nvSpPr>
        <p:spPr>
          <a:xfrm>
            <a:off x="9304352" y="2274226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3</a:t>
            </a:r>
            <a:endParaRPr lang="ko-KR" altLang="en-US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33" name="TextBox 174">
            <a:extLst>
              <a:ext uri="{FF2B5EF4-FFF2-40B4-BE49-F238E27FC236}">
                <a16:creationId xmlns:a16="http://schemas.microsoft.com/office/drawing/2014/main" id="{2A90A1EF-8FB6-1EAA-7A57-BA718F731C7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53543" y="2476266"/>
            <a:ext cx="2573667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영수증 종류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영수증  발행 구분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(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개인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제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3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의 기관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)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발행 일시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</p:txBody>
      </p:sp>
      <p:grpSp>
        <p:nvGrpSpPr>
          <p:cNvPr id="34" name="그룹 33">
            <a:extLst>
              <a:ext uri="{FF2B5EF4-FFF2-40B4-BE49-F238E27FC236}">
                <a16:creationId xmlns:a16="http://schemas.microsoft.com/office/drawing/2014/main" id="{994E9D75-DF40-CC6D-39C4-C7D2CBA46C13}"/>
              </a:ext>
            </a:extLst>
          </p:cNvPr>
          <p:cNvGrpSpPr/>
          <p:nvPr/>
        </p:nvGrpSpPr>
        <p:grpSpPr>
          <a:xfrm>
            <a:off x="9300563" y="3933056"/>
            <a:ext cx="1053082" cy="230832"/>
            <a:chOff x="7316687" y="3282664"/>
            <a:chExt cx="1053082" cy="230832"/>
          </a:xfrm>
        </p:grpSpPr>
        <p:sp>
          <p:nvSpPr>
            <p:cNvPr id="35" name="TextBox 174">
              <a:extLst>
                <a:ext uri="{FF2B5EF4-FFF2-40B4-BE49-F238E27FC236}">
                  <a16:creationId xmlns:a16="http://schemas.microsoft.com/office/drawing/2014/main" id="{8985B515-FAB2-C301-0A98-CC482F55BB4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878767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수집</a:t>
              </a: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영수증 상세</a:t>
              </a:r>
            </a:p>
          </p:txBody>
        </p:sp>
        <p:sp>
          <p:nvSpPr>
            <p:cNvPr id="36" name="모서리가 둥근 직사각형 84">
              <a:extLst>
                <a:ext uri="{FF2B5EF4-FFF2-40B4-BE49-F238E27FC236}">
                  <a16:creationId xmlns:a16="http://schemas.microsoft.com/office/drawing/2014/main" id="{5CA17EA5-E860-C44B-729C-C0ABA313D011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5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37" name="TextBox 174">
            <a:extLst>
              <a:ext uri="{FF2B5EF4-FFF2-40B4-BE49-F238E27FC236}">
                <a16:creationId xmlns:a16="http://schemas.microsoft.com/office/drawing/2014/main" id="{D40E9ADA-B3D0-18D5-D164-66D1B1A8A48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54326" y="4219807"/>
            <a:ext cx="2573667" cy="1292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영수증 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ID</a:t>
            </a: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개인데이터 항목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수집 목적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</a:t>
            </a: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수집 및 이용 시작 일시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수집기관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관련 동의 영수증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보유 및 이용기간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</p:txBody>
      </p:sp>
      <p:grpSp>
        <p:nvGrpSpPr>
          <p:cNvPr id="38" name="그룹 37">
            <a:extLst>
              <a:ext uri="{FF2B5EF4-FFF2-40B4-BE49-F238E27FC236}">
                <a16:creationId xmlns:a16="http://schemas.microsoft.com/office/drawing/2014/main" id="{24D7A7F0-29F1-35BE-C3A5-4185B57265E8}"/>
              </a:ext>
            </a:extLst>
          </p:cNvPr>
          <p:cNvGrpSpPr/>
          <p:nvPr/>
        </p:nvGrpSpPr>
        <p:grpSpPr>
          <a:xfrm>
            <a:off x="9298894" y="5650319"/>
            <a:ext cx="948886" cy="230832"/>
            <a:chOff x="7316687" y="3842048"/>
            <a:chExt cx="948886" cy="230832"/>
          </a:xfrm>
        </p:grpSpPr>
        <p:sp>
          <p:nvSpPr>
            <p:cNvPr id="39" name="TextBox 174">
              <a:extLst>
                <a:ext uri="{FF2B5EF4-FFF2-40B4-BE49-F238E27FC236}">
                  <a16:creationId xmlns:a16="http://schemas.microsoft.com/office/drawing/2014/main" id="{CC427884-F15F-8D3D-C05A-93C73E7958C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842048"/>
              <a:ext cx="774571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ore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내려받기 버튼</a:t>
              </a:r>
              <a:endPara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  <p:sp>
          <p:nvSpPr>
            <p:cNvPr id="40" name="모서리가 둥근 직사각형 84">
              <a:extLst>
                <a:ext uri="{FF2B5EF4-FFF2-40B4-BE49-F238E27FC236}">
                  <a16:creationId xmlns:a16="http://schemas.microsoft.com/office/drawing/2014/main" id="{71BDF27C-B9C9-9122-26A6-AA3FDB7CF298}"/>
                </a:ext>
              </a:extLst>
            </p:cNvPr>
            <p:cNvSpPr/>
            <p:nvPr/>
          </p:nvSpPr>
          <p:spPr>
            <a:xfrm>
              <a:off x="7316687" y="3877294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6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41" name="TextBox 174">
            <a:extLst>
              <a:ext uri="{FF2B5EF4-FFF2-40B4-BE49-F238E27FC236}">
                <a16:creationId xmlns:a16="http://schemas.microsoft.com/office/drawing/2014/main" id="{9C9A3E11-0716-06F8-175E-C47E6CC353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64352" y="5892013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클릭 시</a:t>
            </a:r>
            <a:r>
              <a:rPr lang="en-US" altLang="ko-Kore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해당 영수증 다운로드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984384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C5286BA-92CE-41FB-BB05-BE0F5BBA1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err="1"/>
              <a:t>마이데이터</a:t>
            </a:r>
            <a:endParaRPr lang="ko-KR" altLang="en-US" dirty="0"/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B73B35C2-EB8A-4573-B037-7CC6DF06F86A}"/>
              </a:ext>
            </a:extLst>
          </p:cNvPr>
          <p:cNvGrpSpPr/>
          <p:nvPr/>
        </p:nvGrpSpPr>
        <p:grpSpPr>
          <a:xfrm>
            <a:off x="0" y="-3562"/>
            <a:ext cx="9226508" cy="6816938"/>
            <a:chOff x="-1952021" y="-3562"/>
            <a:chExt cx="9226508" cy="6816938"/>
          </a:xfrm>
        </p:grpSpPr>
        <p:cxnSp>
          <p:nvCxnSpPr>
            <p:cNvPr id="6" name="직선 연결선 5">
              <a:extLst>
                <a:ext uri="{FF2B5EF4-FFF2-40B4-BE49-F238E27FC236}">
                  <a16:creationId xmlns:a16="http://schemas.microsoft.com/office/drawing/2014/main" id="{B4C45666-B8F5-4C50-86A6-C4C0BE1D6FE0}"/>
                </a:ext>
              </a:extLst>
            </p:cNvPr>
            <p:cNvCxnSpPr>
              <a:cxnSpLocks/>
            </p:cNvCxnSpPr>
            <p:nvPr/>
          </p:nvCxnSpPr>
          <p:spPr>
            <a:xfrm>
              <a:off x="7257256" y="-3562"/>
              <a:ext cx="0" cy="6816938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직선 연결선 6">
              <a:extLst>
                <a:ext uri="{FF2B5EF4-FFF2-40B4-BE49-F238E27FC236}">
                  <a16:creationId xmlns:a16="http://schemas.microsoft.com/office/drawing/2014/main" id="{4860EB04-C536-404F-98C0-823E8ADC86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1952021" y="1563825"/>
              <a:ext cx="9226508" cy="0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0B76F625-D0A3-4C9E-8D76-BC231976DDDC}"/>
              </a:ext>
            </a:extLst>
          </p:cNvPr>
          <p:cNvGrpSpPr/>
          <p:nvPr/>
        </p:nvGrpSpPr>
        <p:grpSpPr>
          <a:xfrm>
            <a:off x="479376" y="908720"/>
            <a:ext cx="6759312" cy="338554"/>
            <a:chOff x="479376" y="-963488"/>
            <a:chExt cx="6759312" cy="338554"/>
          </a:xfrm>
        </p:grpSpPr>
        <p:sp>
          <p:nvSpPr>
            <p:cNvPr id="9" name="사각형: 둥근 모서리 8">
              <a:extLst>
                <a:ext uri="{FF2B5EF4-FFF2-40B4-BE49-F238E27FC236}">
                  <a16:creationId xmlns:a16="http://schemas.microsoft.com/office/drawing/2014/main" id="{F66EE92C-BEAA-4A28-9FFE-528E99678B1D}"/>
                </a:ext>
              </a:extLst>
            </p:cNvPr>
            <p:cNvSpPr/>
            <p:nvPr/>
          </p:nvSpPr>
          <p:spPr>
            <a:xfrm>
              <a:off x="479376" y="-946863"/>
              <a:ext cx="590358" cy="305304"/>
            </a:xfrm>
            <a:prstGeom prst="roundRect">
              <a:avLst>
                <a:gd name="adj" fmla="val 50000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>
                      <a:alpha val="50000"/>
                    </a:schemeClr>
                  </a:solidFill>
                  <a:latin typeface="+mn-ea"/>
                  <a:cs typeface="Arial" panose="020B0604020202020204" pitchFamily="34" charset="0"/>
                </a:rPr>
                <a:t>0</a:t>
              </a:r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C8869CF-0725-41FD-AE4C-2AF26212AA85}"/>
                </a:ext>
              </a:extLst>
            </p:cNvPr>
            <p:cNvSpPr txBox="1"/>
            <p:nvPr/>
          </p:nvSpPr>
          <p:spPr>
            <a:xfrm>
              <a:off x="1127448" y="-963488"/>
              <a:ext cx="6111240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R="0" indent="0" algn="just" fontAlgn="base" latinLnBrk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 sz="1600" kern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defRPr>
              </a:lvl1pPr>
            </a:lstStyle>
            <a:p>
              <a:r>
                <a:rPr lang="ko-KR" altLang="en-US" dirty="0"/>
                <a:t>영수증 </a:t>
              </a:r>
              <a:r>
                <a:rPr lang="ko-KR" altLang="en-US"/>
                <a:t>조회 </a:t>
              </a:r>
              <a:r>
                <a:rPr lang="en-US" altLang="ko-KR" dirty="0"/>
                <a:t>–</a:t>
              </a:r>
              <a:r>
                <a:rPr lang="ko-KR" altLang="en-US"/>
                <a:t>공유 영수증</a:t>
              </a:r>
              <a:endParaRPr lang="en-US" altLang="ko-KR" dirty="0"/>
            </a:p>
          </p:txBody>
        </p:sp>
      </p:grpSp>
      <p:pic>
        <p:nvPicPr>
          <p:cNvPr id="4" name="그림 3" descr="텍스트, 스크린샷, 폰트이(가) 표시된 사진&#10;&#10;자동 생성된 설명">
            <a:extLst>
              <a:ext uri="{FF2B5EF4-FFF2-40B4-BE49-F238E27FC236}">
                <a16:creationId xmlns:a16="http://schemas.microsoft.com/office/drawing/2014/main" id="{6B764293-5B13-78AA-7C54-3AA96B4196C8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597600" y="2062800"/>
            <a:ext cx="2052000" cy="4294800"/>
          </a:xfrm>
          <a:prstGeom prst="rect">
            <a:avLst/>
          </a:prstGeom>
        </p:spPr>
      </p:pic>
      <p:pic>
        <p:nvPicPr>
          <p:cNvPr id="15" name="그림 14" descr="텍스트, 스크린샷, 소프트웨어, 웹 페이지이(가) 표시된 사진&#10;&#10;자동 생성된 설명">
            <a:extLst>
              <a:ext uri="{FF2B5EF4-FFF2-40B4-BE49-F238E27FC236}">
                <a16:creationId xmlns:a16="http://schemas.microsoft.com/office/drawing/2014/main" id="{2042FF5F-4171-5C68-C71E-CAB8478EF5A3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2880000" y="2062800"/>
            <a:ext cx="2052000" cy="4294800"/>
          </a:xfrm>
          <a:prstGeom prst="rect">
            <a:avLst/>
          </a:prstGeom>
        </p:spPr>
      </p:pic>
      <p:sp>
        <p:nvSpPr>
          <p:cNvPr id="3" name="모서리가 둥근 직사각형 84">
            <a:extLst>
              <a:ext uri="{FF2B5EF4-FFF2-40B4-BE49-F238E27FC236}">
                <a16:creationId xmlns:a16="http://schemas.microsoft.com/office/drawing/2014/main" id="{3CBB09BB-FC48-5BFA-04E0-8AF68954FA2F}"/>
              </a:ext>
            </a:extLst>
          </p:cNvPr>
          <p:cNvSpPr/>
          <p:nvPr/>
        </p:nvSpPr>
        <p:spPr>
          <a:xfrm>
            <a:off x="855700" y="2400413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1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14" name="모서리가 둥근 직사각형 84">
            <a:extLst>
              <a:ext uri="{FF2B5EF4-FFF2-40B4-BE49-F238E27FC236}">
                <a16:creationId xmlns:a16="http://schemas.microsoft.com/office/drawing/2014/main" id="{F06965CE-809D-3D99-5889-BE452C494DBC}"/>
              </a:ext>
            </a:extLst>
          </p:cNvPr>
          <p:cNvSpPr/>
          <p:nvPr/>
        </p:nvSpPr>
        <p:spPr>
          <a:xfrm>
            <a:off x="855699" y="2700192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2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16" name="모서리가 둥근 직사각형 84">
            <a:extLst>
              <a:ext uri="{FF2B5EF4-FFF2-40B4-BE49-F238E27FC236}">
                <a16:creationId xmlns:a16="http://schemas.microsoft.com/office/drawing/2014/main" id="{AAFADD4D-1561-6960-B276-E7265AB6A247}"/>
              </a:ext>
            </a:extLst>
          </p:cNvPr>
          <p:cNvSpPr/>
          <p:nvPr/>
        </p:nvSpPr>
        <p:spPr>
          <a:xfrm>
            <a:off x="2059427" y="3002558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4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17" name="모서리가 둥근 직사각형 84">
            <a:extLst>
              <a:ext uri="{FF2B5EF4-FFF2-40B4-BE49-F238E27FC236}">
                <a16:creationId xmlns:a16="http://schemas.microsoft.com/office/drawing/2014/main" id="{A81B77DA-D16E-74BC-74CC-A7434D203217}"/>
              </a:ext>
            </a:extLst>
          </p:cNvPr>
          <p:cNvSpPr/>
          <p:nvPr/>
        </p:nvSpPr>
        <p:spPr>
          <a:xfrm>
            <a:off x="619395" y="2977211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3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18" name="모서리가 둥근 직사각형 84">
            <a:extLst>
              <a:ext uri="{FF2B5EF4-FFF2-40B4-BE49-F238E27FC236}">
                <a16:creationId xmlns:a16="http://schemas.microsoft.com/office/drawing/2014/main" id="{656DBB27-7342-BBA9-5A75-40C8ED9819DC}"/>
              </a:ext>
            </a:extLst>
          </p:cNvPr>
          <p:cNvSpPr/>
          <p:nvPr/>
        </p:nvSpPr>
        <p:spPr>
          <a:xfrm>
            <a:off x="3170044" y="2901858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5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19" name="모서리가 둥근 직사각형 84">
            <a:extLst>
              <a:ext uri="{FF2B5EF4-FFF2-40B4-BE49-F238E27FC236}">
                <a16:creationId xmlns:a16="http://schemas.microsoft.com/office/drawing/2014/main" id="{4BF2B74A-CAF4-43F3-58C5-C5B7EFB1636A}"/>
              </a:ext>
            </a:extLst>
          </p:cNvPr>
          <p:cNvSpPr/>
          <p:nvPr/>
        </p:nvSpPr>
        <p:spPr>
          <a:xfrm>
            <a:off x="3093520" y="4456653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6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grpSp>
        <p:nvGrpSpPr>
          <p:cNvPr id="20" name="그룹 19">
            <a:extLst>
              <a:ext uri="{FF2B5EF4-FFF2-40B4-BE49-F238E27FC236}">
                <a16:creationId xmlns:a16="http://schemas.microsoft.com/office/drawing/2014/main" id="{FAF3A5E6-7F72-D017-3519-F391F9BB4125}"/>
              </a:ext>
            </a:extLst>
          </p:cNvPr>
          <p:cNvGrpSpPr/>
          <p:nvPr/>
        </p:nvGrpSpPr>
        <p:grpSpPr>
          <a:xfrm>
            <a:off x="9298894" y="260648"/>
            <a:ext cx="1057890" cy="230832"/>
            <a:chOff x="7316687" y="3282664"/>
            <a:chExt cx="1057890" cy="230832"/>
          </a:xfrm>
        </p:grpSpPr>
        <p:sp>
          <p:nvSpPr>
            <p:cNvPr id="21" name="TextBox 174">
              <a:extLst>
                <a:ext uri="{FF2B5EF4-FFF2-40B4-BE49-F238E27FC236}">
                  <a16:creationId xmlns:a16="http://schemas.microsoft.com/office/drawing/2014/main" id="{6903B01E-AAF9-9851-7FB5-3C6BCD25BD3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88357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ore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영수증 종류 선택</a:t>
              </a:r>
              <a:endPara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  <p:sp>
          <p:nvSpPr>
            <p:cNvPr id="22" name="모서리가 둥근 직사각형 84">
              <a:extLst>
                <a:ext uri="{FF2B5EF4-FFF2-40B4-BE49-F238E27FC236}">
                  <a16:creationId xmlns:a16="http://schemas.microsoft.com/office/drawing/2014/main" id="{8D0B2520-4A5C-4C66-CB95-500F92DBCE51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1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3" name="TextBox 174">
            <a:extLst>
              <a:ext uri="{FF2B5EF4-FFF2-40B4-BE49-F238E27FC236}">
                <a16:creationId xmlns:a16="http://schemas.microsoft.com/office/drawing/2014/main" id="{4124C6BF-939F-699B-56B5-168AAE2F774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53543" y="498371"/>
            <a:ext cx="2573667" cy="9387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전체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사업자 동의 영수증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수집 영수증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공유 영수증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내려받기 영수증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</p:txBody>
      </p:sp>
      <p:grpSp>
        <p:nvGrpSpPr>
          <p:cNvPr id="24" name="그룹 23">
            <a:extLst>
              <a:ext uri="{FF2B5EF4-FFF2-40B4-BE49-F238E27FC236}">
                <a16:creationId xmlns:a16="http://schemas.microsoft.com/office/drawing/2014/main" id="{3FFE6DEA-64FA-11E7-3C1F-1F5E56718DE2}"/>
              </a:ext>
            </a:extLst>
          </p:cNvPr>
          <p:cNvGrpSpPr/>
          <p:nvPr/>
        </p:nvGrpSpPr>
        <p:grpSpPr>
          <a:xfrm>
            <a:off x="9293626" y="1584467"/>
            <a:ext cx="1263075" cy="230832"/>
            <a:chOff x="7316687" y="3282664"/>
            <a:chExt cx="1263075" cy="230832"/>
          </a:xfrm>
        </p:grpSpPr>
        <p:sp>
          <p:nvSpPr>
            <p:cNvPr id="25" name="TextBox 174">
              <a:extLst>
                <a:ext uri="{FF2B5EF4-FFF2-40B4-BE49-F238E27FC236}">
                  <a16:creationId xmlns:a16="http://schemas.microsoft.com/office/drawing/2014/main" id="{26D8C65F-52A0-3B79-317E-2B4CBB40CCE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1088760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ore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영수증 조회 날짜 선택</a:t>
              </a:r>
              <a:endPara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  <p:sp>
          <p:nvSpPr>
            <p:cNvPr id="26" name="모서리가 둥근 직사각형 84">
              <a:extLst>
                <a:ext uri="{FF2B5EF4-FFF2-40B4-BE49-F238E27FC236}">
                  <a16:creationId xmlns:a16="http://schemas.microsoft.com/office/drawing/2014/main" id="{B15EEE13-C494-2518-E16C-CDDC19BDD43D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2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7" name="TextBox 174">
            <a:extLst>
              <a:ext uri="{FF2B5EF4-FFF2-40B4-BE49-F238E27FC236}">
                <a16:creationId xmlns:a16="http://schemas.microsoft.com/office/drawing/2014/main" id="{31635576-9A61-50AC-5776-3AEEF4B3471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54398" y="1804754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전체기간</a:t>
            </a:r>
            <a:r>
              <a:rPr lang="en-US" altLang="ko-Kore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</a:t>
            </a: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혹은 월 별로 영수증 조회 가능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</p:txBody>
      </p:sp>
      <p:grpSp>
        <p:nvGrpSpPr>
          <p:cNvPr id="28" name="그룹 27">
            <a:extLst>
              <a:ext uri="{FF2B5EF4-FFF2-40B4-BE49-F238E27FC236}">
                <a16:creationId xmlns:a16="http://schemas.microsoft.com/office/drawing/2014/main" id="{BD323951-D616-D1DD-742D-26ECC5DDA172}"/>
              </a:ext>
            </a:extLst>
          </p:cNvPr>
          <p:cNvGrpSpPr/>
          <p:nvPr/>
        </p:nvGrpSpPr>
        <p:grpSpPr>
          <a:xfrm>
            <a:off x="9298894" y="2996952"/>
            <a:ext cx="1782448" cy="230832"/>
            <a:chOff x="7316687" y="3842048"/>
            <a:chExt cx="1782448" cy="230832"/>
          </a:xfrm>
        </p:grpSpPr>
        <p:sp>
          <p:nvSpPr>
            <p:cNvPr id="29" name="TextBox 174">
              <a:extLst>
                <a:ext uri="{FF2B5EF4-FFF2-40B4-BE49-F238E27FC236}">
                  <a16:creationId xmlns:a16="http://schemas.microsoft.com/office/drawing/2014/main" id="{B199701B-ECF7-DE0E-09B4-0E2DA695F2E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842048"/>
              <a:ext cx="1608133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ore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공유 영수증 상세 화면  아이콘 버튼</a:t>
              </a:r>
              <a:endPara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  <p:sp>
          <p:nvSpPr>
            <p:cNvPr id="30" name="모서리가 둥근 직사각형 84">
              <a:extLst>
                <a:ext uri="{FF2B5EF4-FFF2-40B4-BE49-F238E27FC236}">
                  <a16:creationId xmlns:a16="http://schemas.microsoft.com/office/drawing/2014/main" id="{D70CDEBE-D09E-BD05-5B24-BDCABE04A11C}"/>
                </a:ext>
              </a:extLst>
            </p:cNvPr>
            <p:cNvSpPr/>
            <p:nvPr/>
          </p:nvSpPr>
          <p:spPr>
            <a:xfrm>
              <a:off x="7316687" y="3877294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4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31" name="TextBox 174">
            <a:extLst>
              <a:ext uri="{FF2B5EF4-FFF2-40B4-BE49-F238E27FC236}">
                <a16:creationId xmlns:a16="http://schemas.microsoft.com/office/drawing/2014/main" id="{83DE281B-B705-7D55-5078-2568A8B4D77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64352" y="3238646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클릭 시</a:t>
            </a:r>
            <a:r>
              <a:rPr lang="en-US" altLang="ko-Kore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[</a:t>
            </a: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공유영수증 상세화면</a:t>
            </a:r>
            <a:r>
              <a:rPr lang="en-US" altLang="ko-Kore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]</a:t>
            </a: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으로 이동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</p:txBody>
      </p:sp>
      <p:sp>
        <p:nvSpPr>
          <p:cNvPr id="32" name="TextBox 174">
            <a:extLst>
              <a:ext uri="{FF2B5EF4-FFF2-40B4-BE49-F238E27FC236}">
                <a16:creationId xmlns:a16="http://schemas.microsoft.com/office/drawing/2014/main" id="{F3342BAE-846E-961F-9572-F1143AE224A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478667" y="2238980"/>
            <a:ext cx="678391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ko-Kore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영수증 목록</a:t>
            </a:r>
            <a:endParaRPr lang="ko-KR" altLang="en-US" sz="900" b="1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sp>
        <p:nvSpPr>
          <p:cNvPr id="33" name="모서리가 둥근 직사각형 84">
            <a:extLst>
              <a:ext uri="{FF2B5EF4-FFF2-40B4-BE49-F238E27FC236}">
                <a16:creationId xmlns:a16="http://schemas.microsoft.com/office/drawing/2014/main" id="{8614415F-4B7C-2EBF-C643-74AD2F1583B5}"/>
              </a:ext>
            </a:extLst>
          </p:cNvPr>
          <p:cNvSpPr/>
          <p:nvPr/>
        </p:nvSpPr>
        <p:spPr>
          <a:xfrm>
            <a:off x="9304352" y="2274226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3</a:t>
            </a:r>
            <a:endParaRPr lang="ko-KR" altLang="en-US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34" name="TextBox 174">
            <a:extLst>
              <a:ext uri="{FF2B5EF4-FFF2-40B4-BE49-F238E27FC236}">
                <a16:creationId xmlns:a16="http://schemas.microsoft.com/office/drawing/2014/main" id="{78F859C2-5C37-3692-E96F-03C101629EB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53543" y="2476266"/>
            <a:ext cx="2573667" cy="4078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영수증 종류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발행 일시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</p:txBody>
      </p:sp>
      <p:grpSp>
        <p:nvGrpSpPr>
          <p:cNvPr id="35" name="그룹 34">
            <a:extLst>
              <a:ext uri="{FF2B5EF4-FFF2-40B4-BE49-F238E27FC236}">
                <a16:creationId xmlns:a16="http://schemas.microsoft.com/office/drawing/2014/main" id="{CE8E10A7-5116-1B89-B7A5-25CC779E0A9E}"/>
              </a:ext>
            </a:extLst>
          </p:cNvPr>
          <p:cNvGrpSpPr/>
          <p:nvPr/>
        </p:nvGrpSpPr>
        <p:grpSpPr>
          <a:xfrm>
            <a:off x="9300563" y="3717032"/>
            <a:ext cx="1073920" cy="230832"/>
            <a:chOff x="7316687" y="3282664"/>
            <a:chExt cx="1073920" cy="230832"/>
          </a:xfrm>
        </p:grpSpPr>
        <p:sp>
          <p:nvSpPr>
            <p:cNvPr id="36" name="TextBox 174">
              <a:extLst>
                <a:ext uri="{FF2B5EF4-FFF2-40B4-BE49-F238E27FC236}">
                  <a16:creationId xmlns:a16="http://schemas.microsoft.com/office/drawing/2014/main" id="{71BDE829-CC3F-699C-2205-D9CAC3F5497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89960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공유</a:t>
              </a: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 영수증 상세</a:t>
              </a:r>
            </a:p>
          </p:txBody>
        </p:sp>
        <p:sp>
          <p:nvSpPr>
            <p:cNvPr id="37" name="모서리가 둥근 직사각형 84">
              <a:extLst>
                <a:ext uri="{FF2B5EF4-FFF2-40B4-BE49-F238E27FC236}">
                  <a16:creationId xmlns:a16="http://schemas.microsoft.com/office/drawing/2014/main" id="{4E79EF48-7401-70A6-43AE-AB264215D0AF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5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38" name="TextBox 174">
            <a:extLst>
              <a:ext uri="{FF2B5EF4-FFF2-40B4-BE49-F238E27FC236}">
                <a16:creationId xmlns:a16="http://schemas.microsoft.com/office/drawing/2014/main" id="{6302CF4A-B48D-D230-8BD5-C6396CEFB82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54326" y="4003783"/>
            <a:ext cx="2573667" cy="1292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영수증 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ID</a:t>
            </a: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공유일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목적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제공자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대상기관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개인 데이터 항목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관련 동의 영수증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보유 및 이용기간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발행기관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</p:txBody>
      </p:sp>
      <p:grpSp>
        <p:nvGrpSpPr>
          <p:cNvPr id="39" name="그룹 38">
            <a:extLst>
              <a:ext uri="{FF2B5EF4-FFF2-40B4-BE49-F238E27FC236}">
                <a16:creationId xmlns:a16="http://schemas.microsoft.com/office/drawing/2014/main" id="{116161E0-D2E6-7E7B-D28A-6544EAB8B5D8}"/>
              </a:ext>
            </a:extLst>
          </p:cNvPr>
          <p:cNvGrpSpPr/>
          <p:nvPr/>
        </p:nvGrpSpPr>
        <p:grpSpPr>
          <a:xfrm>
            <a:off x="9298894" y="5434295"/>
            <a:ext cx="948886" cy="230832"/>
            <a:chOff x="7316687" y="3842048"/>
            <a:chExt cx="948886" cy="230832"/>
          </a:xfrm>
        </p:grpSpPr>
        <p:sp>
          <p:nvSpPr>
            <p:cNvPr id="40" name="TextBox 174">
              <a:extLst>
                <a:ext uri="{FF2B5EF4-FFF2-40B4-BE49-F238E27FC236}">
                  <a16:creationId xmlns:a16="http://schemas.microsoft.com/office/drawing/2014/main" id="{8AA5E090-9BB2-EE66-72DD-AB37D87D56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842048"/>
              <a:ext cx="774571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ore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내려받기 버튼</a:t>
              </a:r>
              <a:endPara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  <p:sp>
          <p:nvSpPr>
            <p:cNvPr id="41" name="모서리가 둥근 직사각형 84">
              <a:extLst>
                <a:ext uri="{FF2B5EF4-FFF2-40B4-BE49-F238E27FC236}">
                  <a16:creationId xmlns:a16="http://schemas.microsoft.com/office/drawing/2014/main" id="{018AB29D-E017-2FE5-9AFD-6F0E3498375B}"/>
                </a:ext>
              </a:extLst>
            </p:cNvPr>
            <p:cNvSpPr/>
            <p:nvPr/>
          </p:nvSpPr>
          <p:spPr>
            <a:xfrm>
              <a:off x="7316687" y="3877294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6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42" name="TextBox 174">
            <a:extLst>
              <a:ext uri="{FF2B5EF4-FFF2-40B4-BE49-F238E27FC236}">
                <a16:creationId xmlns:a16="http://schemas.microsoft.com/office/drawing/2014/main" id="{BE6C04D8-8492-6D6E-ED90-0E42E8EB812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64352" y="5675989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클릭 시</a:t>
            </a:r>
            <a:r>
              <a:rPr lang="en-US" altLang="ko-Kore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해당 영수증 다운로드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21634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C5286BA-92CE-41FB-BB05-BE0F5BBA1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err="1"/>
              <a:t>마이데이터</a:t>
            </a:r>
            <a:endParaRPr lang="ko-KR" altLang="en-US" dirty="0"/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B73B35C2-EB8A-4573-B037-7CC6DF06F86A}"/>
              </a:ext>
            </a:extLst>
          </p:cNvPr>
          <p:cNvGrpSpPr/>
          <p:nvPr/>
        </p:nvGrpSpPr>
        <p:grpSpPr>
          <a:xfrm>
            <a:off x="0" y="-3562"/>
            <a:ext cx="9226508" cy="6816938"/>
            <a:chOff x="-1952021" y="-3562"/>
            <a:chExt cx="9226508" cy="6816938"/>
          </a:xfrm>
        </p:grpSpPr>
        <p:cxnSp>
          <p:nvCxnSpPr>
            <p:cNvPr id="6" name="직선 연결선 5">
              <a:extLst>
                <a:ext uri="{FF2B5EF4-FFF2-40B4-BE49-F238E27FC236}">
                  <a16:creationId xmlns:a16="http://schemas.microsoft.com/office/drawing/2014/main" id="{B4C45666-B8F5-4C50-86A6-C4C0BE1D6FE0}"/>
                </a:ext>
              </a:extLst>
            </p:cNvPr>
            <p:cNvCxnSpPr>
              <a:cxnSpLocks/>
            </p:cNvCxnSpPr>
            <p:nvPr/>
          </p:nvCxnSpPr>
          <p:spPr>
            <a:xfrm>
              <a:off x="7257256" y="-3562"/>
              <a:ext cx="0" cy="6816938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직선 연결선 6">
              <a:extLst>
                <a:ext uri="{FF2B5EF4-FFF2-40B4-BE49-F238E27FC236}">
                  <a16:creationId xmlns:a16="http://schemas.microsoft.com/office/drawing/2014/main" id="{4860EB04-C536-404F-98C0-823E8ADC86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1952021" y="1563825"/>
              <a:ext cx="9226508" cy="0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0B76F625-D0A3-4C9E-8D76-BC231976DDDC}"/>
              </a:ext>
            </a:extLst>
          </p:cNvPr>
          <p:cNvGrpSpPr/>
          <p:nvPr/>
        </p:nvGrpSpPr>
        <p:grpSpPr>
          <a:xfrm>
            <a:off x="479376" y="908720"/>
            <a:ext cx="6759312" cy="338554"/>
            <a:chOff x="479376" y="-963488"/>
            <a:chExt cx="6759312" cy="338554"/>
          </a:xfrm>
        </p:grpSpPr>
        <p:sp>
          <p:nvSpPr>
            <p:cNvPr id="9" name="사각형: 둥근 모서리 8">
              <a:extLst>
                <a:ext uri="{FF2B5EF4-FFF2-40B4-BE49-F238E27FC236}">
                  <a16:creationId xmlns:a16="http://schemas.microsoft.com/office/drawing/2014/main" id="{F66EE92C-BEAA-4A28-9FFE-528E99678B1D}"/>
                </a:ext>
              </a:extLst>
            </p:cNvPr>
            <p:cNvSpPr/>
            <p:nvPr/>
          </p:nvSpPr>
          <p:spPr>
            <a:xfrm>
              <a:off x="479376" y="-946863"/>
              <a:ext cx="590358" cy="305304"/>
            </a:xfrm>
            <a:prstGeom prst="roundRect">
              <a:avLst>
                <a:gd name="adj" fmla="val 50000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>
                      <a:alpha val="50000"/>
                    </a:schemeClr>
                  </a:solidFill>
                  <a:latin typeface="+mn-ea"/>
                  <a:cs typeface="Arial" panose="020B0604020202020204" pitchFamily="34" charset="0"/>
                </a:rPr>
                <a:t>0</a:t>
              </a:r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C8869CF-0725-41FD-AE4C-2AF26212AA85}"/>
                </a:ext>
              </a:extLst>
            </p:cNvPr>
            <p:cNvSpPr txBox="1"/>
            <p:nvPr/>
          </p:nvSpPr>
          <p:spPr>
            <a:xfrm>
              <a:off x="1127448" y="-963488"/>
              <a:ext cx="6111240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R="0" indent="0" algn="just" fontAlgn="base" latinLnBrk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 sz="1600" kern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defRPr>
              </a:lvl1pPr>
            </a:lstStyle>
            <a:p>
              <a:r>
                <a:rPr lang="ko-KR" altLang="en-US" dirty="0"/>
                <a:t>영수증 </a:t>
              </a:r>
              <a:r>
                <a:rPr lang="ko-KR" altLang="en-US"/>
                <a:t>조회 </a:t>
              </a:r>
              <a:r>
                <a:rPr lang="en-US" altLang="ko-KR" dirty="0"/>
                <a:t>–</a:t>
              </a:r>
              <a:r>
                <a:rPr lang="ko-KR" altLang="en-US" err="1"/>
                <a:t>내려받기</a:t>
              </a:r>
              <a:r>
                <a:rPr lang="ko-KR" altLang="en-US"/>
                <a:t> 영수증</a:t>
              </a:r>
              <a:endParaRPr lang="en-US" altLang="ko-KR" dirty="0"/>
            </a:p>
          </p:txBody>
        </p:sp>
      </p:grpSp>
      <p:pic>
        <p:nvPicPr>
          <p:cNvPr id="15" name="그림 14" descr="텍스트, 스크린샷, 폰트이(가) 표시된 사진&#10;&#10;자동 생성된 설명">
            <a:extLst>
              <a:ext uri="{FF2B5EF4-FFF2-40B4-BE49-F238E27FC236}">
                <a16:creationId xmlns:a16="http://schemas.microsoft.com/office/drawing/2014/main" id="{B1E4C4A2-953D-F598-CF3F-B98A92552348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597600" y="2062800"/>
            <a:ext cx="2052000" cy="4294800"/>
          </a:xfrm>
          <a:prstGeom prst="rect">
            <a:avLst/>
          </a:prstGeom>
        </p:spPr>
      </p:pic>
      <p:pic>
        <p:nvPicPr>
          <p:cNvPr id="17" name="그림 16" descr="텍스트, 스크린샷, 소프트웨어, 웹 페이지이(가) 표시된 사진&#10;&#10;자동 생성된 설명">
            <a:extLst>
              <a:ext uri="{FF2B5EF4-FFF2-40B4-BE49-F238E27FC236}">
                <a16:creationId xmlns:a16="http://schemas.microsoft.com/office/drawing/2014/main" id="{E3A32B9E-03D3-6867-BC6A-662381141FBD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2880000" y="2062800"/>
            <a:ext cx="2052000" cy="4294800"/>
          </a:xfrm>
          <a:prstGeom prst="rect">
            <a:avLst/>
          </a:prstGeom>
        </p:spPr>
      </p:pic>
      <p:sp>
        <p:nvSpPr>
          <p:cNvPr id="3" name="모서리가 둥근 직사각형 84">
            <a:extLst>
              <a:ext uri="{FF2B5EF4-FFF2-40B4-BE49-F238E27FC236}">
                <a16:creationId xmlns:a16="http://schemas.microsoft.com/office/drawing/2014/main" id="{41CA3911-4135-5292-EC25-A1742C45F7BC}"/>
              </a:ext>
            </a:extLst>
          </p:cNvPr>
          <p:cNvSpPr/>
          <p:nvPr/>
        </p:nvSpPr>
        <p:spPr>
          <a:xfrm>
            <a:off x="855700" y="2400413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1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13" name="모서리가 둥근 직사각형 84">
            <a:extLst>
              <a:ext uri="{FF2B5EF4-FFF2-40B4-BE49-F238E27FC236}">
                <a16:creationId xmlns:a16="http://schemas.microsoft.com/office/drawing/2014/main" id="{435DC32D-E206-99E7-82F4-5F5619522B38}"/>
              </a:ext>
            </a:extLst>
          </p:cNvPr>
          <p:cNvSpPr/>
          <p:nvPr/>
        </p:nvSpPr>
        <p:spPr>
          <a:xfrm>
            <a:off x="855699" y="2700192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2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14" name="모서리가 둥근 직사각형 84">
            <a:extLst>
              <a:ext uri="{FF2B5EF4-FFF2-40B4-BE49-F238E27FC236}">
                <a16:creationId xmlns:a16="http://schemas.microsoft.com/office/drawing/2014/main" id="{340B224D-24D3-4491-E37C-8A5F5C870800}"/>
              </a:ext>
            </a:extLst>
          </p:cNvPr>
          <p:cNvSpPr/>
          <p:nvPr/>
        </p:nvSpPr>
        <p:spPr>
          <a:xfrm>
            <a:off x="2059427" y="3002558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4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16" name="모서리가 둥근 직사각형 84">
            <a:extLst>
              <a:ext uri="{FF2B5EF4-FFF2-40B4-BE49-F238E27FC236}">
                <a16:creationId xmlns:a16="http://schemas.microsoft.com/office/drawing/2014/main" id="{6C75D8BF-C79D-D1EA-EE97-59FE6EF4706C}"/>
              </a:ext>
            </a:extLst>
          </p:cNvPr>
          <p:cNvSpPr/>
          <p:nvPr/>
        </p:nvSpPr>
        <p:spPr>
          <a:xfrm>
            <a:off x="619395" y="2977211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3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18" name="모서리가 둥근 직사각형 84">
            <a:extLst>
              <a:ext uri="{FF2B5EF4-FFF2-40B4-BE49-F238E27FC236}">
                <a16:creationId xmlns:a16="http://schemas.microsoft.com/office/drawing/2014/main" id="{F357ACE8-B6F8-9BDA-FC6F-6314A022956D}"/>
              </a:ext>
            </a:extLst>
          </p:cNvPr>
          <p:cNvSpPr/>
          <p:nvPr/>
        </p:nvSpPr>
        <p:spPr>
          <a:xfrm>
            <a:off x="3170044" y="2901858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5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19" name="모서리가 둥근 직사각형 84">
            <a:extLst>
              <a:ext uri="{FF2B5EF4-FFF2-40B4-BE49-F238E27FC236}">
                <a16:creationId xmlns:a16="http://schemas.microsoft.com/office/drawing/2014/main" id="{1941807F-C59E-D41E-1E6E-FF1C1C9647FD}"/>
              </a:ext>
            </a:extLst>
          </p:cNvPr>
          <p:cNvSpPr/>
          <p:nvPr/>
        </p:nvSpPr>
        <p:spPr>
          <a:xfrm>
            <a:off x="3077523" y="4077072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6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grpSp>
        <p:nvGrpSpPr>
          <p:cNvPr id="20" name="그룹 19">
            <a:extLst>
              <a:ext uri="{FF2B5EF4-FFF2-40B4-BE49-F238E27FC236}">
                <a16:creationId xmlns:a16="http://schemas.microsoft.com/office/drawing/2014/main" id="{B1BA5F52-0069-8DAB-F587-9B7D4D77DA68}"/>
              </a:ext>
            </a:extLst>
          </p:cNvPr>
          <p:cNvGrpSpPr/>
          <p:nvPr/>
        </p:nvGrpSpPr>
        <p:grpSpPr>
          <a:xfrm>
            <a:off x="9298894" y="260648"/>
            <a:ext cx="1057890" cy="230832"/>
            <a:chOff x="7316687" y="3282664"/>
            <a:chExt cx="1057890" cy="230832"/>
          </a:xfrm>
        </p:grpSpPr>
        <p:sp>
          <p:nvSpPr>
            <p:cNvPr id="21" name="TextBox 174">
              <a:extLst>
                <a:ext uri="{FF2B5EF4-FFF2-40B4-BE49-F238E27FC236}">
                  <a16:creationId xmlns:a16="http://schemas.microsoft.com/office/drawing/2014/main" id="{1C2EEBD6-5C2C-2B15-43FF-B1999F555A2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88357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ore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영수증 종류 선택</a:t>
              </a:r>
              <a:endPara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  <p:sp>
          <p:nvSpPr>
            <p:cNvPr id="22" name="모서리가 둥근 직사각형 84">
              <a:extLst>
                <a:ext uri="{FF2B5EF4-FFF2-40B4-BE49-F238E27FC236}">
                  <a16:creationId xmlns:a16="http://schemas.microsoft.com/office/drawing/2014/main" id="{A42F65DA-5B11-0C75-0459-E041A3DE0331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1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3" name="TextBox 174">
            <a:extLst>
              <a:ext uri="{FF2B5EF4-FFF2-40B4-BE49-F238E27FC236}">
                <a16:creationId xmlns:a16="http://schemas.microsoft.com/office/drawing/2014/main" id="{7F8297FC-D088-16FD-EABE-0B116DDD0D8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53543" y="498371"/>
            <a:ext cx="2573667" cy="9387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전체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사업자 동의 영수증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수집 영수증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공유 영수증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내려받기 영수증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</p:txBody>
      </p:sp>
      <p:grpSp>
        <p:nvGrpSpPr>
          <p:cNvPr id="24" name="그룹 23">
            <a:extLst>
              <a:ext uri="{FF2B5EF4-FFF2-40B4-BE49-F238E27FC236}">
                <a16:creationId xmlns:a16="http://schemas.microsoft.com/office/drawing/2014/main" id="{4ABB083A-06D0-311D-0093-5DC44430A771}"/>
              </a:ext>
            </a:extLst>
          </p:cNvPr>
          <p:cNvGrpSpPr/>
          <p:nvPr/>
        </p:nvGrpSpPr>
        <p:grpSpPr>
          <a:xfrm>
            <a:off x="9293626" y="1584467"/>
            <a:ext cx="1263075" cy="230832"/>
            <a:chOff x="7316687" y="3282664"/>
            <a:chExt cx="1263075" cy="230832"/>
          </a:xfrm>
        </p:grpSpPr>
        <p:sp>
          <p:nvSpPr>
            <p:cNvPr id="25" name="TextBox 174">
              <a:extLst>
                <a:ext uri="{FF2B5EF4-FFF2-40B4-BE49-F238E27FC236}">
                  <a16:creationId xmlns:a16="http://schemas.microsoft.com/office/drawing/2014/main" id="{018F797F-088F-D0F8-FB91-F9403A272AF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1088760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ore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영수증 조회 날짜 선택</a:t>
              </a:r>
              <a:endPara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  <p:sp>
          <p:nvSpPr>
            <p:cNvPr id="26" name="모서리가 둥근 직사각형 84">
              <a:extLst>
                <a:ext uri="{FF2B5EF4-FFF2-40B4-BE49-F238E27FC236}">
                  <a16:creationId xmlns:a16="http://schemas.microsoft.com/office/drawing/2014/main" id="{84F1C0CA-C7B6-C7EB-EFA1-71E3EEDBE501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2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7" name="TextBox 174">
            <a:extLst>
              <a:ext uri="{FF2B5EF4-FFF2-40B4-BE49-F238E27FC236}">
                <a16:creationId xmlns:a16="http://schemas.microsoft.com/office/drawing/2014/main" id="{B696D572-0B73-A4AE-C06E-53D02E4F30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54398" y="1804754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전체기간</a:t>
            </a:r>
            <a:r>
              <a:rPr lang="en-US" altLang="ko-Kore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</a:t>
            </a: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혹은 월 별로 영수증 조회 가능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</p:txBody>
      </p:sp>
      <p:grpSp>
        <p:nvGrpSpPr>
          <p:cNvPr id="28" name="그룹 27">
            <a:extLst>
              <a:ext uri="{FF2B5EF4-FFF2-40B4-BE49-F238E27FC236}">
                <a16:creationId xmlns:a16="http://schemas.microsoft.com/office/drawing/2014/main" id="{7A1114F5-4109-59FC-CCF7-F929D81BDA86}"/>
              </a:ext>
            </a:extLst>
          </p:cNvPr>
          <p:cNvGrpSpPr/>
          <p:nvPr/>
        </p:nvGrpSpPr>
        <p:grpSpPr>
          <a:xfrm>
            <a:off x="9298894" y="2996952"/>
            <a:ext cx="1974808" cy="230832"/>
            <a:chOff x="7316687" y="3842048"/>
            <a:chExt cx="1974808" cy="230832"/>
          </a:xfrm>
        </p:grpSpPr>
        <p:sp>
          <p:nvSpPr>
            <p:cNvPr id="29" name="TextBox 174">
              <a:extLst>
                <a:ext uri="{FF2B5EF4-FFF2-40B4-BE49-F238E27FC236}">
                  <a16:creationId xmlns:a16="http://schemas.microsoft.com/office/drawing/2014/main" id="{83796F6E-6AF0-1795-CA8E-B5E7A56B9DB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842048"/>
              <a:ext cx="1800493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ore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내려받기 영수증 상세 화면  아이콘 버튼</a:t>
              </a:r>
              <a:endPara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  <p:sp>
          <p:nvSpPr>
            <p:cNvPr id="30" name="모서리가 둥근 직사각형 84">
              <a:extLst>
                <a:ext uri="{FF2B5EF4-FFF2-40B4-BE49-F238E27FC236}">
                  <a16:creationId xmlns:a16="http://schemas.microsoft.com/office/drawing/2014/main" id="{8E367AC0-9BF8-B334-7DCE-C2A4602CFD65}"/>
                </a:ext>
              </a:extLst>
            </p:cNvPr>
            <p:cNvSpPr/>
            <p:nvPr/>
          </p:nvSpPr>
          <p:spPr>
            <a:xfrm>
              <a:off x="7316687" y="3877294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4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31" name="TextBox 174">
            <a:extLst>
              <a:ext uri="{FF2B5EF4-FFF2-40B4-BE49-F238E27FC236}">
                <a16:creationId xmlns:a16="http://schemas.microsoft.com/office/drawing/2014/main" id="{95419C07-85C1-3FFE-179D-4336FAF4072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64352" y="3238646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클릭 시</a:t>
            </a:r>
            <a:r>
              <a:rPr lang="en-US" altLang="ko-Kore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[</a:t>
            </a: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내려받기영수증 상세화면</a:t>
            </a:r>
            <a:r>
              <a:rPr lang="en-US" altLang="ko-Kore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]</a:t>
            </a: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으로 이동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</p:txBody>
      </p:sp>
      <p:sp>
        <p:nvSpPr>
          <p:cNvPr id="32" name="TextBox 174">
            <a:extLst>
              <a:ext uri="{FF2B5EF4-FFF2-40B4-BE49-F238E27FC236}">
                <a16:creationId xmlns:a16="http://schemas.microsoft.com/office/drawing/2014/main" id="{52A5D934-C19C-12EE-1971-7E6906BABAE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478667" y="2238980"/>
            <a:ext cx="678391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ko-Kore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영수증 목록</a:t>
            </a:r>
            <a:endParaRPr lang="ko-KR" altLang="en-US" sz="900" b="1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sp>
        <p:nvSpPr>
          <p:cNvPr id="33" name="모서리가 둥근 직사각형 84">
            <a:extLst>
              <a:ext uri="{FF2B5EF4-FFF2-40B4-BE49-F238E27FC236}">
                <a16:creationId xmlns:a16="http://schemas.microsoft.com/office/drawing/2014/main" id="{53B8C53B-6450-D88D-093A-8B893479C928}"/>
              </a:ext>
            </a:extLst>
          </p:cNvPr>
          <p:cNvSpPr/>
          <p:nvPr/>
        </p:nvSpPr>
        <p:spPr>
          <a:xfrm>
            <a:off x="9304352" y="2274226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3</a:t>
            </a:r>
            <a:endParaRPr lang="ko-KR" altLang="en-US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34" name="TextBox 174">
            <a:extLst>
              <a:ext uri="{FF2B5EF4-FFF2-40B4-BE49-F238E27FC236}">
                <a16:creationId xmlns:a16="http://schemas.microsoft.com/office/drawing/2014/main" id="{535EE7E8-6C82-37A3-E13F-1965014DFED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53543" y="2476266"/>
            <a:ext cx="2573667" cy="4078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영수증 종류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발행 일시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</p:txBody>
      </p:sp>
      <p:grpSp>
        <p:nvGrpSpPr>
          <p:cNvPr id="35" name="그룹 34">
            <a:extLst>
              <a:ext uri="{FF2B5EF4-FFF2-40B4-BE49-F238E27FC236}">
                <a16:creationId xmlns:a16="http://schemas.microsoft.com/office/drawing/2014/main" id="{32F33546-A1E3-1BCF-BE4F-842CE68E0731}"/>
              </a:ext>
            </a:extLst>
          </p:cNvPr>
          <p:cNvGrpSpPr/>
          <p:nvPr/>
        </p:nvGrpSpPr>
        <p:grpSpPr>
          <a:xfrm>
            <a:off x="9300563" y="3717032"/>
            <a:ext cx="1266281" cy="230832"/>
            <a:chOff x="7316687" y="3282664"/>
            <a:chExt cx="1266281" cy="230832"/>
          </a:xfrm>
        </p:grpSpPr>
        <p:sp>
          <p:nvSpPr>
            <p:cNvPr id="36" name="TextBox 174">
              <a:extLst>
                <a:ext uri="{FF2B5EF4-FFF2-40B4-BE49-F238E27FC236}">
                  <a16:creationId xmlns:a16="http://schemas.microsoft.com/office/drawing/2014/main" id="{6F277FD4-C3C9-57D8-ABF3-48A26E8C36C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1091966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 err="1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내려받기</a:t>
              </a: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 영수증 상세</a:t>
              </a:r>
            </a:p>
          </p:txBody>
        </p:sp>
        <p:sp>
          <p:nvSpPr>
            <p:cNvPr id="37" name="모서리가 둥근 직사각형 84">
              <a:extLst>
                <a:ext uri="{FF2B5EF4-FFF2-40B4-BE49-F238E27FC236}">
                  <a16:creationId xmlns:a16="http://schemas.microsoft.com/office/drawing/2014/main" id="{3E42CD3A-7C41-AA98-932E-5A7E38EFC320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5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38" name="TextBox 174">
            <a:extLst>
              <a:ext uri="{FF2B5EF4-FFF2-40B4-BE49-F238E27FC236}">
                <a16:creationId xmlns:a16="http://schemas.microsoft.com/office/drawing/2014/main" id="{40B30704-7AA6-0D36-AA72-F7505C0E9E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54326" y="4003783"/>
            <a:ext cx="2573667" cy="1292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영수증 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ID</a:t>
            </a: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일시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내려받기 형식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개인 데이터 항목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개인데이터 형식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발행기관명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발행기관정보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</p:txBody>
      </p:sp>
      <p:grpSp>
        <p:nvGrpSpPr>
          <p:cNvPr id="39" name="그룹 38">
            <a:extLst>
              <a:ext uri="{FF2B5EF4-FFF2-40B4-BE49-F238E27FC236}">
                <a16:creationId xmlns:a16="http://schemas.microsoft.com/office/drawing/2014/main" id="{0AFCFECF-6D47-9310-CB28-DCC5140DAD82}"/>
              </a:ext>
            </a:extLst>
          </p:cNvPr>
          <p:cNvGrpSpPr/>
          <p:nvPr/>
        </p:nvGrpSpPr>
        <p:grpSpPr>
          <a:xfrm>
            <a:off x="9298894" y="5434295"/>
            <a:ext cx="948886" cy="230832"/>
            <a:chOff x="7316687" y="3842048"/>
            <a:chExt cx="948886" cy="230832"/>
          </a:xfrm>
        </p:grpSpPr>
        <p:sp>
          <p:nvSpPr>
            <p:cNvPr id="40" name="TextBox 174">
              <a:extLst>
                <a:ext uri="{FF2B5EF4-FFF2-40B4-BE49-F238E27FC236}">
                  <a16:creationId xmlns:a16="http://schemas.microsoft.com/office/drawing/2014/main" id="{0B896870-2B81-B8E3-D6D7-B0B356EA03B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842048"/>
              <a:ext cx="774571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ore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내려받기 버튼</a:t>
              </a:r>
              <a:endPara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  <p:sp>
          <p:nvSpPr>
            <p:cNvPr id="41" name="모서리가 둥근 직사각형 84">
              <a:extLst>
                <a:ext uri="{FF2B5EF4-FFF2-40B4-BE49-F238E27FC236}">
                  <a16:creationId xmlns:a16="http://schemas.microsoft.com/office/drawing/2014/main" id="{CB6C7255-6644-8613-1227-68CD9D65763A}"/>
                </a:ext>
              </a:extLst>
            </p:cNvPr>
            <p:cNvSpPr/>
            <p:nvPr/>
          </p:nvSpPr>
          <p:spPr>
            <a:xfrm>
              <a:off x="7316687" y="3877294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6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42" name="TextBox 174">
            <a:extLst>
              <a:ext uri="{FF2B5EF4-FFF2-40B4-BE49-F238E27FC236}">
                <a16:creationId xmlns:a16="http://schemas.microsoft.com/office/drawing/2014/main" id="{BF0B6E32-9C87-4AA4-4AB3-78DF399BA13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64352" y="5675989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클릭 시</a:t>
            </a:r>
            <a:r>
              <a:rPr lang="en-US" altLang="ko-Kore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해당 영수증 다운로드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89455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C5286BA-92CE-41FB-BB05-BE0F5BBA1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err="1"/>
              <a:t>마이데이터</a:t>
            </a:r>
            <a:endParaRPr lang="ko-KR" altLang="en-US" dirty="0"/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B73B35C2-EB8A-4573-B037-7CC6DF06F86A}"/>
              </a:ext>
            </a:extLst>
          </p:cNvPr>
          <p:cNvGrpSpPr/>
          <p:nvPr/>
        </p:nvGrpSpPr>
        <p:grpSpPr>
          <a:xfrm>
            <a:off x="0" y="-3562"/>
            <a:ext cx="9226508" cy="6816938"/>
            <a:chOff x="-1952021" y="-3562"/>
            <a:chExt cx="9226508" cy="6816938"/>
          </a:xfrm>
        </p:grpSpPr>
        <p:cxnSp>
          <p:nvCxnSpPr>
            <p:cNvPr id="6" name="직선 연결선 5">
              <a:extLst>
                <a:ext uri="{FF2B5EF4-FFF2-40B4-BE49-F238E27FC236}">
                  <a16:creationId xmlns:a16="http://schemas.microsoft.com/office/drawing/2014/main" id="{B4C45666-B8F5-4C50-86A6-C4C0BE1D6FE0}"/>
                </a:ext>
              </a:extLst>
            </p:cNvPr>
            <p:cNvCxnSpPr>
              <a:cxnSpLocks/>
            </p:cNvCxnSpPr>
            <p:nvPr/>
          </p:nvCxnSpPr>
          <p:spPr>
            <a:xfrm>
              <a:off x="7257256" y="-3562"/>
              <a:ext cx="0" cy="6816938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직선 연결선 6">
              <a:extLst>
                <a:ext uri="{FF2B5EF4-FFF2-40B4-BE49-F238E27FC236}">
                  <a16:creationId xmlns:a16="http://schemas.microsoft.com/office/drawing/2014/main" id="{4860EB04-C536-404F-98C0-823E8ADC86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1952021" y="1563825"/>
              <a:ext cx="9226508" cy="0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0B76F625-D0A3-4C9E-8D76-BC231976DDDC}"/>
              </a:ext>
            </a:extLst>
          </p:cNvPr>
          <p:cNvGrpSpPr/>
          <p:nvPr/>
        </p:nvGrpSpPr>
        <p:grpSpPr>
          <a:xfrm>
            <a:off x="479376" y="908720"/>
            <a:ext cx="6759312" cy="338554"/>
            <a:chOff x="479376" y="-963488"/>
            <a:chExt cx="6759312" cy="338554"/>
          </a:xfrm>
        </p:grpSpPr>
        <p:sp>
          <p:nvSpPr>
            <p:cNvPr id="9" name="사각형: 둥근 모서리 8">
              <a:extLst>
                <a:ext uri="{FF2B5EF4-FFF2-40B4-BE49-F238E27FC236}">
                  <a16:creationId xmlns:a16="http://schemas.microsoft.com/office/drawing/2014/main" id="{F66EE92C-BEAA-4A28-9FFE-528E99678B1D}"/>
                </a:ext>
              </a:extLst>
            </p:cNvPr>
            <p:cNvSpPr/>
            <p:nvPr/>
          </p:nvSpPr>
          <p:spPr>
            <a:xfrm>
              <a:off x="479376" y="-946863"/>
              <a:ext cx="590358" cy="305304"/>
            </a:xfrm>
            <a:prstGeom prst="roundRect">
              <a:avLst>
                <a:gd name="adj" fmla="val 50000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>
                      <a:alpha val="50000"/>
                    </a:schemeClr>
                  </a:solidFill>
                  <a:latin typeface="+mn-ea"/>
                  <a:cs typeface="Arial" panose="020B0604020202020204" pitchFamily="34" charset="0"/>
                </a:rPr>
                <a:t>0</a:t>
              </a:r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  <a:cs typeface="Arial" panose="020B0604020202020204" pitchFamily="34" charset="0"/>
                </a:rPr>
                <a:t>4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C8869CF-0725-41FD-AE4C-2AF26212AA85}"/>
                </a:ext>
              </a:extLst>
            </p:cNvPr>
            <p:cNvSpPr txBox="1"/>
            <p:nvPr/>
          </p:nvSpPr>
          <p:spPr>
            <a:xfrm>
              <a:off x="1127448" y="-963488"/>
              <a:ext cx="6111240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R="0" indent="0" algn="just" fontAlgn="base" latinLnBrk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 sz="1600" kern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defRPr>
              </a:lvl1pPr>
            </a:lstStyle>
            <a:p>
              <a:r>
                <a:rPr lang="ko-KR" altLang="en-US" dirty="0"/>
                <a:t>리워드 </a:t>
              </a:r>
              <a:r>
                <a:rPr lang="ko-KR" altLang="en-US"/>
                <a:t>포인트 조회</a:t>
              </a:r>
              <a:endParaRPr lang="en-US" altLang="ko-KR" dirty="0"/>
            </a:p>
          </p:txBody>
        </p:sp>
      </p:grpSp>
      <p:pic>
        <p:nvPicPr>
          <p:cNvPr id="14" name="그림 13" descr="텍스트, 스크린샷이(가) 표시된 사진&#10;&#10;자동 생성된 설명">
            <a:extLst>
              <a:ext uri="{FF2B5EF4-FFF2-40B4-BE49-F238E27FC236}">
                <a16:creationId xmlns:a16="http://schemas.microsoft.com/office/drawing/2014/main" id="{74672175-FD99-F7FC-ED51-0F8AD846E29A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597600" y="2062800"/>
            <a:ext cx="2052000" cy="4222800"/>
          </a:xfrm>
          <a:prstGeom prst="rect">
            <a:avLst/>
          </a:prstGeom>
        </p:spPr>
      </p:pic>
      <p:grpSp>
        <p:nvGrpSpPr>
          <p:cNvPr id="3" name="그룹 2">
            <a:extLst>
              <a:ext uri="{FF2B5EF4-FFF2-40B4-BE49-F238E27FC236}">
                <a16:creationId xmlns:a16="http://schemas.microsoft.com/office/drawing/2014/main" id="{5D8C4F7B-FEAB-2D63-9583-94316B76D45F}"/>
              </a:ext>
            </a:extLst>
          </p:cNvPr>
          <p:cNvGrpSpPr/>
          <p:nvPr/>
        </p:nvGrpSpPr>
        <p:grpSpPr>
          <a:xfrm>
            <a:off x="9282973" y="1313496"/>
            <a:ext cx="2573667" cy="628091"/>
            <a:chOff x="7031364" y="0"/>
            <a:chExt cx="2573667" cy="628091"/>
          </a:xfrm>
        </p:grpSpPr>
        <p:grpSp>
          <p:nvGrpSpPr>
            <p:cNvPr id="4" name="그룹 3">
              <a:extLst>
                <a:ext uri="{FF2B5EF4-FFF2-40B4-BE49-F238E27FC236}">
                  <a16:creationId xmlns:a16="http://schemas.microsoft.com/office/drawing/2014/main" id="{BF0F76E2-C63B-6C00-B972-0C0907DD9E2F}"/>
                </a:ext>
              </a:extLst>
            </p:cNvPr>
            <p:cNvGrpSpPr/>
            <p:nvPr/>
          </p:nvGrpSpPr>
          <p:grpSpPr>
            <a:xfrm>
              <a:off x="7070591" y="0"/>
              <a:ext cx="1161174" cy="230832"/>
              <a:chOff x="7316687" y="3282664"/>
              <a:chExt cx="1161174" cy="230832"/>
            </a:xfrm>
          </p:grpSpPr>
          <p:sp>
            <p:nvSpPr>
              <p:cNvPr id="12" name="TextBox 174">
                <a:extLst>
                  <a:ext uri="{FF2B5EF4-FFF2-40B4-BE49-F238E27FC236}">
                    <a16:creationId xmlns:a16="http://schemas.microsoft.com/office/drawing/2014/main" id="{7650AA42-6905-6415-B88E-01A28FBE892A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482076" y="3282664"/>
                <a:ext cx="995785" cy="2308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>
                  <a:defRPr/>
                </a:pPr>
                <a:r>
                  <a:rPr lang="ko-KR" altLang="en-US" sz="900" b="1" spc="-150" dirty="0">
                    <a:ln>
                      <a:solidFill>
                        <a:srgbClr val="5B9BD5">
                          <a:shade val="50000"/>
                          <a:alpha val="0"/>
                        </a:srgbClr>
                      </a:solidFill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+mn-ea"/>
                    <a:ea typeface="+mn-ea"/>
                  </a:rPr>
                  <a:t>리워드 포인트 조회</a:t>
                </a:r>
              </a:p>
            </p:txBody>
          </p:sp>
          <p:sp>
            <p:nvSpPr>
              <p:cNvPr id="13" name="모서리가 둥근 직사각형 84">
                <a:extLst>
                  <a:ext uri="{FF2B5EF4-FFF2-40B4-BE49-F238E27FC236}">
                    <a16:creationId xmlns:a16="http://schemas.microsoft.com/office/drawing/2014/main" id="{35E4FB73-5EEC-7532-9F66-A656089273A9}"/>
                  </a:ext>
                </a:extLst>
              </p:cNvPr>
              <p:cNvSpPr/>
              <p:nvPr/>
            </p:nvSpPr>
            <p:spPr>
              <a:xfrm>
                <a:off x="7316687" y="3317910"/>
                <a:ext cx="185041" cy="185041"/>
              </a:xfrm>
              <a:prstGeom prst="roundRect">
                <a:avLst/>
              </a:prstGeom>
              <a:solidFill>
                <a:srgbClr val="627EA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r>
                  <a:rPr lang="en-US" altLang="ko-KR" sz="900" spc="-150" dirty="0">
                    <a:ln>
                      <a:solidFill>
                        <a:srgbClr val="5B9BD5">
                          <a:shade val="50000"/>
                          <a:alpha val="0"/>
                        </a:srgbClr>
                      </a:solidFill>
                    </a:ln>
                    <a:solidFill>
                      <a:prstClr val="white"/>
                    </a:solidFill>
                    <a:latin typeface="+mn-ea"/>
                    <a:cs typeface="Arial" panose="020B0604020202020204" pitchFamily="34" charset="0"/>
                  </a:rPr>
                  <a:t>1</a:t>
                </a:r>
                <a:endParaRPr lang="ko-KR" altLang="en-US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" name="TextBox 174">
              <a:extLst>
                <a:ext uri="{FF2B5EF4-FFF2-40B4-BE49-F238E27FC236}">
                  <a16:creationId xmlns:a16="http://schemas.microsoft.com/office/drawing/2014/main" id="{74546AC8-95CA-902E-DB09-700E765FC71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031364" y="220287"/>
              <a:ext cx="2573667" cy="4078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176213" indent="-176213">
                <a:spcBef>
                  <a:spcPts val="300"/>
                </a:spcBef>
                <a:buClr>
                  <a:srgbClr val="D0A660"/>
                </a:buClr>
                <a:buSzPct val="100000"/>
                <a:buBlip>
                  <a:blip r:embed="rId4"/>
                </a:buBlip>
                <a:defRPr/>
              </a:pPr>
              <a:r>
                <a:rPr lang="ko-Kore-KR" altLang="en-US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잔여 리워드 포인트</a:t>
              </a:r>
              <a:endPara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  <a:p>
              <a:pPr marL="176213" indent="-176213">
                <a:spcBef>
                  <a:spcPts val="300"/>
                </a:spcBef>
                <a:buClr>
                  <a:srgbClr val="D0A660"/>
                </a:buClr>
                <a:buSzPct val="100000"/>
                <a:buBlip>
                  <a:blip r:embed="rId4"/>
                </a:buBlip>
                <a:defRPr/>
              </a:pPr>
              <a:r>
                <a:rPr lang="ko-Kore-KR" altLang="en-US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리워드 포인트 사용내역</a:t>
              </a:r>
              <a:endPara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</p:grpSp>
      <p:grpSp>
        <p:nvGrpSpPr>
          <p:cNvPr id="15" name="그룹 14">
            <a:extLst>
              <a:ext uri="{FF2B5EF4-FFF2-40B4-BE49-F238E27FC236}">
                <a16:creationId xmlns:a16="http://schemas.microsoft.com/office/drawing/2014/main" id="{8524FE84-1AF0-C724-A2F7-2C3D1DA68E09}"/>
              </a:ext>
            </a:extLst>
          </p:cNvPr>
          <p:cNvGrpSpPr/>
          <p:nvPr/>
        </p:nvGrpSpPr>
        <p:grpSpPr>
          <a:xfrm>
            <a:off x="9282973" y="2132856"/>
            <a:ext cx="2573667" cy="1159006"/>
            <a:chOff x="7031364" y="0"/>
            <a:chExt cx="2573667" cy="1159006"/>
          </a:xfrm>
        </p:grpSpPr>
        <p:grpSp>
          <p:nvGrpSpPr>
            <p:cNvPr id="16" name="그룹 15">
              <a:extLst>
                <a:ext uri="{FF2B5EF4-FFF2-40B4-BE49-F238E27FC236}">
                  <a16:creationId xmlns:a16="http://schemas.microsoft.com/office/drawing/2014/main" id="{61135821-25FE-E514-4DF3-8CF132453189}"/>
                </a:ext>
              </a:extLst>
            </p:cNvPr>
            <p:cNvGrpSpPr/>
            <p:nvPr/>
          </p:nvGrpSpPr>
          <p:grpSpPr>
            <a:xfrm>
              <a:off x="7070591" y="0"/>
              <a:ext cx="1064994" cy="230832"/>
              <a:chOff x="7316687" y="3282664"/>
              <a:chExt cx="1064994" cy="230832"/>
            </a:xfrm>
          </p:grpSpPr>
          <p:sp>
            <p:nvSpPr>
              <p:cNvPr id="18" name="TextBox 174">
                <a:extLst>
                  <a:ext uri="{FF2B5EF4-FFF2-40B4-BE49-F238E27FC236}">
                    <a16:creationId xmlns:a16="http://schemas.microsoft.com/office/drawing/2014/main" id="{BF703F4D-B2A5-04B7-1794-76EE656D0EF8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482076" y="3282664"/>
                <a:ext cx="899605" cy="2308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>
                  <a:defRPr/>
                </a:pPr>
                <a:r>
                  <a:rPr lang="ko-KR" altLang="en-US" sz="900" b="1" spc="-150" dirty="0">
                    <a:ln>
                      <a:solidFill>
                        <a:srgbClr val="5B9BD5">
                          <a:shade val="50000"/>
                          <a:alpha val="0"/>
                        </a:srgbClr>
                      </a:solidFill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+mn-ea"/>
                  </a:rPr>
                  <a:t>포인트 사용 내역</a:t>
                </a:r>
                <a:endPara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endParaRPr>
              </a:p>
            </p:txBody>
          </p:sp>
          <p:sp>
            <p:nvSpPr>
              <p:cNvPr id="19" name="모서리가 둥근 직사각형 84">
                <a:extLst>
                  <a:ext uri="{FF2B5EF4-FFF2-40B4-BE49-F238E27FC236}">
                    <a16:creationId xmlns:a16="http://schemas.microsoft.com/office/drawing/2014/main" id="{593CADD9-96B2-90D6-373E-FD64414EDE97}"/>
                  </a:ext>
                </a:extLst>
              </p:cNvPr>
              <p:cNvSpPr/>
              <p:nvPr/>
            </p:nvSpPr>
            <p:spPr>
              <a:xfrm>
                <a:off x="7316687" y="3317910"/>
                <a:ext cx="185041" cy="185041"/>
              </a:xfrm>
              <a:prstGeom prst="roundRect">
                <a:avLst/>
              </a:prstGeom>
              <a:solidFill>
                <a:srgbClr val="627EA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r>
                  <a:rPr lang="en-US" altLang="ko-KR" sz="900" spc="-150" dirty="0">
                    <a:ln>
                      <a:solidFill>
                        <a:srgbClr val="5B9BD5">
                          <a:shade val="50000"/>
                          <a:alpha val="0"/>
                        </a:srgbClr>
                      </a:solidFill>
                    </a:ln>
                    <a:solidFill>
                      <a:prstClr val="white"/>
                    </a:solidFill>
                    <a:latin typeface="+mn-ea"/>
                    <a:cs typeface="Arial" panose="020B0604020202020204" pitchFamily="34" charset="0"/>
                  </a:rPr>
                  <a:t>2</a:t>
                </a:r>
                <a:endParaRPr lang="ko-KR" altLang="en-US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7" name="TextBox 174">
              <a:extLst>
                <a:ext uri="{FF2B5EF4-FFF2-40B4-BE49-F238E27FC236}">
                  <a16:creationId xmlns:a16="http://schemas.microsoft.com/office/drawing/2014/main" id="{F31E8554-2EE8-9C3E-DA67-2D2E098E0E9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031364" y="220287"/>
              <a:ext cx="2573667" cy="9387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176213" indent="-176213">
                <a:spcBef>
                  <a:spcPts val="300"/>
                </a:spcBef>
                <a:buClr>
                  <a:srgbClr val="D0A660"/>
                </a:buClr>
                <a:buSzPct val="100000"/>
                <a:buBlip>
                  <a:blip r:embed="rId4"/>
                </a:buBlip>
                <a:defRPr/>
              </a:pPr>
              <a:r>
                <a:rPr lang="ko-KR" altLang="en-US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적립</a:t>
              </a:r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/</a:t>
              </a:r>
              <a:r>
                <a:rPr lang="ko-KR" altLang="en-US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차감</a:t>
              </a:r>
              <a:endPara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endParaRPr>
            </a:p>
            <a:p>
              <a:pPr marL="176213" indent="-176213">
                <a:spcBef>
                  <a:spcPts val="300"/>
                </a:spcBef>
                <a:buClr>
                  <a:srgbClr val="D0A660"/>
                </a:buClr>
                <a:buSzPct val="100000"/>
                <a:buBlip>
                  <a:blip r:embed="rId4"/>
                </a:buBlip>
                <a:defRPr/>
              </a:pPr>
              <a:r>
                <a:rPr lang="ko-KR" altLang="en-US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잔여포인트</a:t>
              </a:r>
              <a:endPara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endParaRPr>
            </a:p>
            <a:p>
              <a:pPr marL="176213" indent="-176213">
                <a:spcBef>
                  <a:spcPts val="300"/>
                </a:spcBef>
                <a:buClr>
                  <a:srgbClr val="D0A660"/>
                </a:buClr>
                <a:buSzPct val="100000"/>
                <a:buBlip>
                  <a:blip r:embed="rId4"/>
                </a:buBlip>
                <a:defRPr/>
              </a:pPr>
              <a:r>
                <a:rPr lang="ko-KR" altLang="en-US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사유</a:t>
              </a:r>
              <a:endPara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endParaRPr>
            </a:p>
            <a:p>
              <a:pPr marL="176213" indent="-176213">
                <a:spcBef>
                  <a:spcPts val="300"/>
                </a:spcBef>
                <a:buClr>
                  <a:srgbClr val="D0A660"/>
                </a:buClr>
                <a:buSzPct val="100000"/>
                <a:buBlip>
                  <a:blip r:embed="rId4"/>
                </a:buBlip>
                <a:defRPr/>
              </a:pPr>
              <a:r>
                <a:rPr lang="ko-KR" altLang="en-US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관련기관</a:t>
              </a:r>
              <a:endPara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endParaRPr>
            </a:p>
            <a:p>
              <a:pPr marL="176213" indent="-176213">
                <a:spcBef>
                  <a:spcPts val="300"/>
                </a:spcBef>
                <a:buClr>
                  <a:srgbClr val="D0A660"/>
                </a:buClr>
                <a:buSzPct val="100000"/>
                <a:buBlip>
                  <a:blip r:embed="rId4"/>
                </a:buBlip>
                <a:defRPr/>
              </a:pPr>
              <a:r>
                <a:rPr lang="ko-KR" altLang="en-US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등록일시</a:t>
              </a:r>
              <a:endPara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endParaRPr>
            </a:p>
          </p:txBody>
        </p:sp>
      </p:grpSp>
      <p:sp>
        <p:nvSpPr>
          <p:cNvPr id="30" name="모서리가 둥근 직사각형 84">
            <a:extLst>
              <a:ext uri="{FF2B5EF4-FFF2-40B4-BE49-F238E27FC236}">
                <a16:creationId xmlns:a16="http://schemas.microsoft.com/office/drawing/2014/main" id="{2A5F4F5C-C203-D532-270A-9197F70BEE30}"/>
              </a:ext>
            </a:extLst>
          </p:cNvPr>
          <p:cNvSpPr/>
          <p:nvPr/>
        </p:nvSpPr>
        <p:spPr>
          <a:xfrm>
            <a:off x="580370" y="2760537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1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31" name="모서리가 둥근 직사각형 84">
            <a:extLst>
              <a:ext uri="{FF2B5EF4-FFF2-40B4-BE49-F238E27FC236}">
                <a16:creationId xmlns:a16="http://schemas.microsoft.com/office/drawing/2014/main" id="{53997637-C5F7-E1B6-DBA8-82E0F7B68F40}"/>
              </a:ext>
            </a:extLst>
          </p:cNvPr>
          <p:cNvSpPr/>
          <p:nvPr/>
        </p:nvSpPr>
        <p:spPr>
          <a:xfrm>
            <a:off x="580369" y="3429000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2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9521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C5286BA-92CE-41FB-BB05-BE0F5BBA1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방문점검</a:t>
            </a:r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B73B35C2-EB8A-4573-B037-7CC6DF06F86A}"/>
              </a:ext>
            </a:extLst>
          </p:cNvPr>
          <p:cNvGrpSpPr/>
          <p:nvPr/>
        </p:nvGrpSpPr>
        <p:grpSpPr>
          <a:xfrm>
            <a:off x="0" y="-3562"/>
            <a:ext cx="9226508" cy="6816938"/>
            <a:chOff x="-1952021" y="-3562"/>
            <a:chExt cx="9226508" cy="6816938"/>
          </a:xfrm>
        </p:grpSpPr>
        <p:cxnSp>
          <p:nvCxnSpPr>
            <p:cNvPr id="6" name="직선 연결선 5">
              <a:extLst>
                <a:ext uri="{FF2B5EF4-FFF2-40B4-BE49-F238E27FC236}">
                  <a16:creationId xmlns:a16="http://schemas.microsoft.com/office/drawing/2014/main" id="{B4C45666-B8F5-4C50-86A6-C4C0BE1D6FE0}"/>
                </a:ext>
              </a:extLst>
            </p:cNvPr>
            <p:cNvCxnSpPr>
              <a:cxnSpLocks/>
            </p:cNvCxnSpPr>
            <p:nvPr/>
          </p:nvCxnSpPr>
          <p:spPr>
            <a:xfrm>
              <a:off x="7257256" y="-3562"/>
              <a:ext cx="0" cy="6816938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직선 연결선 6">
              <a:extLst>
                <a:ext uri="{FF2B5EF4-FFF2-40B4-BE49-F238E27FC236}">
                  <a16:creationId xmlns:a16="http://schemas.microsoft.com/office/drawing/2014/main" id="{4860EB04-C536-404F-98C0-823E8ADC86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1952021" y="1563825"/>
              <a:ext cx="9226508" cy="0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0B76F625-D0A3-4C9E-8D76-BC231976DDDC}"/>
              </a:ext>
            </a:extLst>
          </p:cNvPr>
          <p:cNvGrpSpPr/>
          <p:nvPr/>
        </p:nvGrpSpPr>
        <p:grpSpPr>
          <a:xfrm>
            <a:off x="479376" y="908720"/>
            <a:ext cx="6759312" cy="338554"/>
            <a:chOff x="479376" y="-963488"/>
            <a:chExt cx="6759312" cy="338554"/>
          </a:xfrm>
        </p:grpSpPr>
        <p:sp>
          <p:nvSpPr>
            <p:cNvPr id="9" name="사각형: 둥근 모서리 8">
              <a:extLst>
                <a:ext uri="{FF2B5EF4-FFF2-40B4-BE49-F238E27FC236}">
                  <a16:creationId xmlns:a16="http://schemas.microsoft.com/office/drawing/2014/main" id="{F66EE92C-BEAA-4A28-9FFE-528E99678B1D}"/>
                </a:ext>
              </a:extLst>
            </p:cNvPr>
            <p:cNvSpPr/>
            <p:nvPr/>
          </p:nvSpPr>
          <p:spPr>
            <a:xfrm>
              <a:off x="479376" y="-946863"/>
              <a:ext cx="590358" cy="305304"/>
            </a:xfrm>
            <a:prstGeom prst="roundRect">
              <a:avLst>
                <a:gd name="adj" fmla="val 50000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>
                      <a:alpha val="50000"/>
                    </a:schemeClr>
                  </a:solidFill>
                  <a:latin typeface="+mn-ea"/>
                  <a:cs typeface="Arial" panose="020B0604020202020204" pitchFamily="34" charset="0"/>
                </a:rPr>
                <a:t>0</a:t>
              </a:r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C8869CF-0725-41FD-AE4C-2AF26212AA85}"/>
                </a:ext>
              </a:extLst>
            </p:cNvPr>
            <p:cNvSpPr txBox="1"/>
            <p:nvPr/>
          </p:nvSpPr>
          <p:spPr>
            <a:xfrm>
              <a:off x="1127448" y="-963488"/>
              <a:ext cx="6111240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R="0" indent="0" algn="just" fontAlgn="base" latinLnBrk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 sz="1600" kern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defRPr>
              </a:lvl1pPr>
            </a:lstStyle>
            <a:p>
              <a:r>
                <a:rPr lang="ko-KR" altLang="en-US"/>
                <a:t>방문점검 </a:t>
              </a:r>
              <a:r>
                <a:rPr lang="en-US" altLang="ko-KR" dirty="0"/>
                <a:t>– </a:t>
              </a:r>
              <a:r>
                <a:rPr lang="ko-KR" altLang="en-US"/>
                <a:t>방문점검 캘린더</a:t>
              </a:r>
              <a:endParaRPr lang="en-US" altLang="ko-KR" dirty="0"/>
            </a:p>
          </p:txBody>
        </p:sp>
      </p:grpSp>
      <p:sp>
        <p:nvSpPr>
          <p:cNvPr id="12" name="모서리가 둥근 직사각형 84">
            <a:extLst>
              <a:ext uri="{FF2B5EF4-FFF2-40B4-BE49-F238E27FC236}">
                <a16:creationId xmlns:a16="http://schemas.microsoft.com/office/drawing/2014/main" id="{18697ADD-F270-4667-9A57-E87F7B1B7AFE}"/>
              </a:ext>
            </a:extLst>
          </p:cNvPr>
          <p:cNvSpPr/>
          <p:nvPr/>
        </p:nvSpPr>
        <p:spPr>
          <a:xfrm>
            <a:off x="623392" y="2422191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1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13" name="모서리가 둥근 직사각형 84">
            <a:extLst>
              <a:ext uri="{FF2B5EF4-FFF2-40B4-BE49-F238E27FC236}">
                <a16:creationId xmlns:a16="http://schemas.microsoft.com/office/drawing/2014/main" id="{C52E26DD-68BC-42CC-98BC-94AAA00F13A8}"/>
              </a:ext>
            </a:extLst>
          </p:cNvPr>
          <p:cNvSpPr/>
          <p:nvPr/>
        </p:nvSpPr>
        <p:spPr>
          <a:xfrm>
            <a:off x="2371001" y="2060855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2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grpSp>
        <p:nvGrpSpPr>
          <p:cNvPr id="41" name="그룹 40">
            <a:extLst>
              <a:ext uri="{FF2B5EF4-FFF2-40B4-BE49-F238E27FC236}">
                <a16:creationId xmlns:a16="http://schemas.microsoft.com/office/drawing/2014/main" id="{D0722FEC-7970-4258-9992-BBCA6A55587C}"/>
              </a:ext>
            </a:extLst>
          </p:cNvPr>
          <p:cNvGrpSpPr/>
          <p:nvPr/>
        </p:nvGrpSpPr>
        <p:grpSpPr>
          <a:xfrm>
            <a:off x="9312000" y="3683498"/>
            <a:ext cx="1149262" cy="230832"/>
            <a:chOff x="7316687" y="3282664"/>
            <a:chExt cx="1149262" cy="230832"/>
          </a:xfrm>
        </p:grpSpPr>
        <p:sp>
          <p:nvSpPr>
            <p:cNvPr id="42" name="TextBox 174">
              <a:extLst>
                <a:ext uri="{FF2B5EF4-FFF2-40B4-BE49-F238E27FC236}">
                  <a16:creationId xmlns:a16="http://schemas.microsoft.com/office/drawing/2014/main" id="{9AC18EF2-0B4C-4564-9931-F34E9E7CA88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974947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진행중인 예방점검</a:t>
              </a:r>
            </a:p>
          </p:txBody>
        </p:sp>
        <p:sp>
          <p:nvSpPr>
            <p:cNvPr id="43" name="모서리가 둥근 직사각형 84">
              <a:extLst>
                <a:ext uri="{FF2B5EF4-FFF2-40B4-BE49-F238E27FC236}">
                  <a16:creationId xmlns:a16="http://schemas.microsoft.com/office/drawing/2014/main" id="{0BB4B43A-F224-426C-96DE-06628EE6CF09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4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44" name="TextBox 174">
            <a:extLst>
              <a:ext uri="{FF2B5EF4-FFF2-40B4-BE49-F238E27FC236}">
                <a16:creationId xmlns:a16="http://schemas.microsoft.com/office/drawing/2014/main" id="{E7F77C86-F0A0-4842-BF34-5882993FB03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60495" y="3941475"/>
            <a:ext cx="2573667" cy="12157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3"/>
              </a:buBlip>
              <a:defRPr/>
            </a:pPr>
            <a:r>
              <a:rPr lang="ko-KR" altLang="en-US" sz="900" b="1" spc="-150" dirty="0" err="1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장비명</a:t>
            </a:r>
            <a:endParaRPr lang="en-US" altLang="ko-KR" sz="900" b="1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3"/>
              </a:buBlip>
              <a:defRPr/>
            </a:pPr>
            <a:r>
              <a: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접수일자 또는 방문일자</a:t>
            </a:r>
            <a:endParaRPr lang="en-US" altLang="ko-KR" sz="900" b="1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3"/>
              </a:buBlip>
              <a:defRPr/>
            </a:pPr>
            <a:r>
              <a: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방문자</a:t>
            </a:r>
            <a:endParaRPr lang="en-US" altLang="ko-KR" sz="900" b="1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3"/>
              </a:buBlip>
              <a:defRPr/>
            </a:pPr>
            <a:r>
              <a: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방문주소</a:t>
            </a:r>
            <a:endParaRPr lang="en-US" altLang="ko-KR" sz="900" b="1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3"/>
              </a:buBlip>
              <a:defRPr/>
            </a:pPr>
            <a:r>
              <a: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예방점검 상태</a:t>
            </a:r>
            <a:br>
              <a:rPr lang="en-US" altLang="ko-KR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</a:br>
            <a:r>
              <a:rPr lang="en-US" altLang="ko-KR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-</a:t>
            </a:r>
            <a:r>
              <a: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대기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: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예방점검이 접수된 상태</a:t>
            </a:r>
            <a:b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</a:b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-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확정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: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예방점검이 확정된 상태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grpSp>
        <p:nvGrpSpPr>
          <p:cNvPr id="49" name="그룹 48">
            <a:extLst>
              <a:ext uri="{FF2B5EF4-FFF2-40B4-BE49-F238E27FC236}">
                <a16:creationId xmlns:a16="http://schemas.microsoft.com/office/drawing/2014/main" id="{74923467-E4F2-4C15-9F84-D16961C5A167}"/>
              </a:ext>
            </a:extLst>
          </p:cNvPr>
          <p:cNvGrpSpPr/>
          <p:nvPr/>
        </p:nvGrpSpPr>
        <p:grpSpPr>
          <a:xfrm>
            <a:off x="9292129" y="3049889"/>
            <a:ext cx="1266281" cy="230832"/>
            <a:chOff x="7316687" y="3282664"/>
            <a:chExt cx="1266281" cy="230832"/>
          </a:xfrm>
        </p:grpSpPr>
        <p:sp>
          <p:nvSpPr>
            <p:cNvPr id="50" name="TextBox 174">
              <a:extLst>
                <a:ext uri="{FF2B5EF4-FFF2-40B4-BE49-F238E27FC236}">
                  <a16:creationId xmlns:a16="http://schemas.microsoft.com/office/drawing/2014/main" id="{F5D4BA60-2373-4E4B-8BF6-A682B1E7DB2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1091966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 err="1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새로고침</a:t>
              </a: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 아이콘 버튼</a:t>
              </a:r>
            </a:p>
          </p:txBody>
        </p:sp>
        <p:sp>
          <p:nvSpPr>
            <p:cNvPr id="51" name="모서리가 둥근 직사각형 84">
              <a:extLst>
                <a:ext uri="{FF2B5EF4-FFF2-40B4-BE49-F238E27FC236}">
                  <a16:creationId xmlns:a16="http://schemas.microsoft.com/office/drawing/2014/main" id="{22232AC7-A624-4746-99AA-C1E175E0C8EA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3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52" name="TextBox 174">
            <a:extLst>
              <a:ext uri="{FF2B5EF4-FFF2-40B4-BE49-F238E27FC236}">
                <a16:creationId xmlns:a16="http://schemas.microsoft.com/office/drawing/2014/main" id="{267B634D-3169-49E2-8F7A-701D88B5BC7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52901" y="3270176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3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클릭 시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예방점검 일정 </a:t>
            </a:r>
            <a:r>
              <a:rPr lang="ko-KR" altLang="en-US" sz="900" spc="-150" dirty="0" err="1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새로고침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pic>
        <p:nvPicPr>
          <p:cNvPr id="22" name="그림 21" descr="텍스트, 번호, 폰트, 스크린샷이(가) 표시된 사진&#10;&#10;자동 생성된 설명">
            <a:extLst>
              <a:ext uri="{FF2B5EF4-FFF2-40B4-BE49-F238E27FC236}">
                <a16:creationId xmlns:a16="http://schemas.microsoft.com/office/drawing/2014/main" id="{415696E5-00C8-7211-53C4-47099D186C6E}"/>
              </a:ext>
            </a:extLst>
          </p:cNvPr>
          <p:cNvPicPr>
            <a:picLocks/>
          </p:cNvPicPr>
          <p:nvPr/>
        </p:nvPicPr>
        <p:blipFill rotWithShape="1">
          <a:blip r:embed="rId4"/>
          <a:srcRect b="6154"/>
          <a:stretch/>
        </p:blipFill>
        <p:spPr>
          <a:xfrm>
            <a:off x="2880000" y="2062801"/>
            <a:ext cx="2052000" cy="4031999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26" name="그림 25" descr="텍스트, 스크린샷, 폰트이(가) 표시된 사진&#10;&#10;자동 생성된 설명">
            <a:extLst>
              <a:ext uri="{FF2B5EF4-FFF2-40B4-BE49-F238E27FC236}">
                <a16:creationId xmlns:a16="http://schemas.microsoft.com/office/drawing/2014/main" id="{7EE1D395-E9A6-39D3-A3CD-B0EBC4FB9DD4}"/>
              </a:ext>
            </a:extLst>
          </p:cNvPr>
          <p:cNvPicPr>
            <a:picLocks/>
          </p:cNvPicPr>
          <p:nvPr/>
        </p:nvPicPr>
        <p:blipFill rotWithShape="1">
          <a:blip r:embed="rId5"/>
          <a:srcRect b="6154"/>
          <a:stretch/>
        </p:blipFill>
        <p:spPr>
          <a:xfrm>
            <a:off x="597600" y="2062801"/>
            <a:ext cx="2052000" cy="4031999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3" name="모서리가 둥근 직사각형 84">
            <a:extLst>
              <a:ext uri="{FF2B5EF4-FFF2-40B4-BE49-F238E27FC236}">
                <a16:creationId xmlns:a16="http://schemas.microsoft.com/office/drawing/2014/main" id="{3AB9C400-8A6D-B898-D144-2950D5F02E21}"/>
              </a:ext>
            </a:extLst>
          </p:cNvPr>
          <p:cNvSpPr/>
          <p:nvPr/>
        </p:nvSpPr>
        <p:spPr>
          <a:xfrm>
            <a:off x="430721" y="2576816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1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4" name="모서리가 둥근 직사각형 84">
            <a:extLst>
              <a:ext uri="{FF2B5EF4-FFF2-40B4-BE49-F238E27FC236}">
                <a16:creationId xmlns:a16="http://schemas.microsoft.com/office/drawing/2014/main" id="{A229D052-201F-F504-F70C-AF3F081565F3}"/>
              </a:ext>
            </a:extLst>
          </p:cNvPr>
          <p:cNvSpPr/>
          <p:nvPr/>
        </p:nvSpPr>
        <p:spPr>
          <a:xfrm>
            <a:off x="2063552" y="2923252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3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11" name="모서리가 둥근 직사각형 84">
            <a:extLst>
              <a:ext uri="{FF2B5EF4-FFF2-40B4-BE49-F238E27FC236}">
                <a16:creationId xmlns:a16="http://schemas.microsoft.com/office/drawing/2014/main" id="{844CAFEF-C966-E1BF-BADE-9F8A43F03FCE}"/>
              </a:ext>
            </a:extLst>
          </p:cNvPr>
          <p:cNvSpPr/>
          <p:nvPr/>
        </p:nvSpPr>
        <p:spPr>
          <a:xfrm>
            <a:off x="577750" y="3336479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2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grpSp>
        <p:nvGrpSpPr>
          <p:cNvPr id="14" name="그룹 13">
            <a:extLst>
              <a:ext uri="{FF2B5EF4-FFF2-40B4-BE49-F238E27FC236}">
                <a16:creationId xmlns:a16="http://schemas.microsoft.com/office/drawing/2014/main" id="{2A02652C-661B-A4FD-0445-6DDCDCE8EC3F}"/>
              </a:ext>
            </a:extLst>
          </p:cNvPr>
          <p:cNvGrpSpPr/>
          <p:nvPr/>
        </p:nvGrpSpPr>
        <p:grpSpPr>
          <a:xfrm>
            <a:off x="9298103" y="1647761"/>
            <a:ext cx="860721" cy="230832"/>
            <a:chOff x="7316687" y="3282664"/>
            <a:chExt cx="860721" cy="230832"/>
          </a:xfrm>
        </p:grpSpPr>
        <p:sp>
          <p:nvSpPr>
            <p:cNvPr id="15" name="TextBox 174">
              <a:extLst>
                <a:ext uri="{FF2B5EF4-FFF2-40B4-BE49-F238E27FC236}">
                  <a16:creationId xmlns:a16="http://schemas.microsoft.com/office/drawing/2014/main" id="{08C8C734-4DAA-1886-B355-2B4BFE23790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686406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예방점검 탭</a:t>
              </a:r>
              <a:endPara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  <p:sp>
          <p:nvSpPr>
            <p:cNvPr id="16" name="모서리가 둥근 직사각형 84">
              <a:extLst>
                <a:ext uri="{FF2B5EF4-FFF2-40B4-BE49-F238E27FC236}">
                  <a16:creationId xmlns:a16="http://schemas.microsoft.com/office/drawing/2014/main" id="{EC3C0F37-3575-C00E-4B49-C9F21110F717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1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17" name="TextBox 174">
            <a:extLst>
              <a:ext uri="{FF2B5EF4-FFF2-40B4-BE49-F238E27FC236}">
                <a16:creationId xmlns:a16="http://schemas.microsoft.com/office/drawing/2014/main" id="{8E85F523-3532-D4AA-4918-1C048279224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58875" y="1868048"/>
            <a:ext cx="2573667" cy="4078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3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진행 중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3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완료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grpSp>
        <p:nvGrpSpPr>
          <p:cNvPr id="18" name="그룹 17">
            <a:extLst>
              <a:ext uri="{FF2B5EF4-FFF2-40B4-BE49-F238E27FC236}">
                <a16:creationId xmlns:a16="http://schemas.microsoft.com/office/drawing/2014/main" id="{4C8B4B29-BF22-5697-76AE-C52C890621DB}"/>
              </a:ext>
            </a:extLst>
          </p:cNvPr>
          <p:cNvGrpSpPr/>
          <p:nvPr/>
        </p:nvGrpSpPr>
        <p:grpSpPr>
          <a:xfrm>
            <a:off x="9302835" y="2260724"/>
            <a:ext cx="1170100" cy="230832"/>
            <a:chOff x="7316687" y="3282664"/>
            <a:chExt cx="1170100" cy="230832"/>
          </a:xfrm>
        </p:grpSpPr>
        <p:sp>
          <p:nvSpPr>
            <p:cNvPr id="19" name="TextBox 174">
              <a:extLst>
                <a:ext uri="{FF2B5EF4-FFF2-40B4-BE49-F238E27FC236}">
                  <a16:creationId xmlns:a16="http://schemas.microsoft.com/office/drawing/2014/main" id="{B004E77A-2989-B2ED-E2C2-DB32E9A0740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99578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방문점검 요청 버튼</a:t>
              </a:r>
            </a:p>
          </p:txBody>
        </p:sp>
        <p:sp>
          <p:nvSpPr>
            <p:cNvPr id="20" name="모서리가 둥근 직사각형 84">
              <a:extLst>
                <a:ext uri="{FF2B5EF4-FFF2-40B4-BE49-F238E27FC236}">
                  <a16:creationId xmlns:a16="http://schemas.microsoft.com/office/drawing/2014/main" id="{03D71961-3469-A150-4AEC-FA482395F1E0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2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1" name="TextBox 174">
            <a:extLst>
              <a:ext uri="{FF2B5EF4-FFF2-40B4-BE49-F238E27FC236}">
                <a16:creationId xmlns:a16="http://schemas.microsoft.com/office/drawing/2014/main" id="{953941C3-EA86-62D4-D044-6155A24C36B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63607" y="2481011"/>
            <a:ext cx="2573667" cy="4078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3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진행 중인 예방점검이 없다면</a:t>
            </a:r>
            <a:r>
              <a:rPr lang="en-US" altLang="ko-Kore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, </a:t>
            </a: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방문점검 요청 버튼 표출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3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클릭 시</a:t>
            </a:r>
            <a:r>
              <a:rPr lang="en-US" altLang="ko-Kore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[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방문점검 요청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]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화면으로 이동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sp>
        <p:nvSpPr>
          <p:cNvPr id="27" name="모서리가 둥근 직사각형 84">
            <a:extLst>
              <a:ext uri="{FF2B5EF4-FFF2-40B4-BE49-F238E27FC236}">
                <a16:creationId xmlns:a16="http://schemas.microsoft.com/office/drawing/2014/main" id="{417D492E-75DA-DAE3-CBD3-5520E9E0F16B}"/>
              </a:ext>
            </a:extLst>
          </p:cNvPr>
          <p:cNvSpPr/>
          <p:nvPr/>
        </p:nvSpPr>
        <p:spPr>
          <a:xfrm>
            <a:off x="2851922" y="2923251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4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9900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C5286BA-92CE-41FB-BB05-BE0F5BBA1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방문점검</a:t>
            </a:r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B73B35C2-EB8A-4573-B037-7CC6DF06F86A}"/>
              </a:ext>
            </a:extLst>
          </p:cNvPr>
          <p:cNvGrpSpPr/>
          <p:nvPr/>
        </p:nvGrpSpPr>
        <p:grpSpPr>
          <a:xfrm>
            <a:off x="-1015" y="259707"/>
            <a:ext cx="9226508" cy="6816938"/>
            <a:chOff x="-1952021" y="-3562"/>
            <a:chExt cx="9226508" cy="6816938"/>
          </a:xfrm>
        </p:grpSpPr>
        <p:cxnSp>
          <p:nvCxnSpPr>
            <p:cNvPr id="6" name="직선 연결선 5">
              <a:extLst>
                <a:ext uri="{FF2B5EF4-FFF2-40B4-BE49-F238E27FC236}">
                  <a16:creationId xmlns:a16="http://schemas.microsoft.com/office/drawing/2014/main" id="{B4C45666-B8F5-4C50-86A6-C4C0BE1D6FE0}"/>
                </a:ext>
              </a:extLst>
            </p:cNvPr>
            <p:cNvCxnSpPr>
              <a:cxnSpLocks/>
            </p:cNvCxnSpPr>
            <p:nvPr/>
          </p:nvCxnSpPr>
          <p:spPr>
            <a:xfrm>
              <a:off x="7257256" y="-3562"/>
              <a:ext cx="0" cy="6816938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직선 연결선 6">
              <a:extLst>
                <a:ext uri="{FF2B5EF4-FFF2-40B4-BE49-F238E27FC236}">
                  <a16:creationId xmlns:a16="http://schemas.microsoft.com/office/drawing/2014/main" id="{4860EB04-C536-404F-98C0-823E8ADC86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1952021" y="1563825"/>
              <a:ext cx="9226508" cy="0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0B76F625-D0A3-4C9E-8D76-BC231976DDDC}"/>
              </a:ext>
            </a:extLst>
          </p:cNvPr>
          <p:cNvGrpSpPr/>
          <p:nvPr/>
        </p:nvGrpSpPr>
        <p:grpSpPr>
          <a:xfrm>
            <a:off x="479376" y="908720"/>
            <a:ext cx="6759312" cy="338554"/>
            <a:chOff x="479376" y="-963488"/>
            <a:chExt cx="6759312" cy="338554"/>
          </a:xfrm>
        </p:grpSpPr>
        <p:sp>
          <p:nvSpPr>
            <p:cNvPr id="9" name="사각형: 둥근 모서리 8">
              <a:extLst>
                <a:ext uri="{FF2B5EF4-FFF2-40B4-BE49-F238E27FC236}">
                  <a16:creationId xmlns:a16="http://schemas.microsoft.com/office/drawing/2014/main" id="{F66EE92C-BEAA-4A28-9FFE-528E99678B1D}"/>
                </a:ext>
              </a:extLst>
            </p:cNvPr>
            <p:cNvSpPr/>
            <p:nvPr/>
          </p:nvSpPr>
          <p:spPr>
            <a:xfrm>
              <a:off x="479376" y="-946863"/>
              <a:ext cx="590358" cy="305304"/>
            </a:xfrm>
            <a:prstGeom prst="roundRect">
              <a:avLst>
                <a:gd name="adj" fmla="val 50000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>
                      <a:alpha val="50000"/>
                    </a:schemeClr>
                  </a:solidFill>
                  <a:latin typeface="+mn-ea"/>
                  <a:cs typeface="Arial" panose="020B0604020202020204" pitchFamily="34" charset="0"/>
                </a:rPr>
                <a:t>0</a:t>
              </a:r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C8869CF-0725-41FD-AE4C-2AF26212AA85}"/>
                </a:ext>
              </a:extLst>
            </p:cNvPr>
            <p:cNvSpPr txBox="1"/>
            <p:nvPr/>
          </p:nvSpPr>
          <p:spPr>
            <a:xfrm>
              <a:off x="1127448" y="-963488"/>
              <a:ext cx="6111240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R="0" indent="0" algn="just" fontAlgn="base" latinLnBrk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 sz="1600" kern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defRPr>
              </a:lvl1pPr>
            </a:lstStyle>
            <a:p>
              <a:r>
                <a:rPr lang="ko-KR" altLang="en-US"/>
                <a:t>방문점검 </a:t>
              </a:r>
              <a:r>
                <a:rPr lang="en-US" altLang="ko-KR" dirty="0"/>
                <a:t>– </a:t>
              </a:r>
              <a:r>
                <a:rPr lang="ko-KR" altLang="en-US"/>
                <a:t>방문점검 요청</a:t>
              </a:r>
              <a:endParaRPr lang="en-US" altLang="ko-KR" dirty="0"/>
            </a:p>
          </p:txBody>
        </p:sp>
      </p:grpSp>
      <p:pic>
        <p:nvPicPr>
          <p:cNvPr id="4" name="그림 3" descr="텍스트, 스크린샷, 폰트이(가) 표시된 사진&#10;&#10;자동 생성된 설명">
            <a:extLst>
              <a:ext uri="{FF2B5EF4-FFF2-40B4-BE49-F238E27FC236}">
                <a16:creationId xmlns:a16="http://schemas.microsoft.com/office/drawing/2014/main" id="{7C1A8748-A316-765A-DC26-93D4E47AFD27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597600" y="2062800"/>
            <a:ext cx="2052000" cy="4294800"/>
          </a:xfrm>
          <a:prstGeom prst="rect">
            <a:avLst/>
          </a:prstGeom>
        </p:spPr>
      </p:pic>
      <p:pic>
        <p:nvPicPr>
          <p:cNvPr id="13" name="그림 12" descr="텍스트, 스크린샷, 폰트, 번호이(가) 표시된 사진&#10;&#10;자동 생성된 설명">
            <a:extLst>
              <a:ext uri="{FF2B5EF4-FFF2-40B4-BE49-F238E27FC236}">
                <a16:creationId xmlns:a16="http://schemas.microsoft.com/office/drawing/2014/main" id="{2CE56DF7-374B-E445-8D8F-1A9D01A5AD7D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2880000" y="2062800"/>
            <a:ext cx="2052000" cy="4294800"/>
          </a:xfrm>
          <a:prstGeom prst="rect">
            <a:avLst/>
          </a:prstGeom>
        </p:spPr>
      </p:pic>
      <p:grpSp>
        <p:nvGrpSpPr>
          <p:cNvPr id="3" name="그룹 2">
            <a:extLst>
              <a:ext uri="{FF2B5EF4-FFF2-40B4-BE49-F238E27FC236}">
                <a16:creationId xmlns:a16="http://schemas.microsoft.com/office/drawing/2014/main" id="{E81ED919-714E-AF6B-96E9-E54780B82786}"/>
              </a:ext>
            </a:extLst>
          </p:cNvPr>
          <p:cNvGrpSpPr/>
          <p:nvPr/>
        </p:nvGrpSpPr>
        <p:grpSpPr>
          <a:xfrm>
            <a:off x="9312000" y="4093220"/>
            <a:ext cx="956902" cy="230832"/>
            <a:chOff x="7316687" y="3282664"/>
            <a:chExt cx="956902" cy="230832"/>
          </a:xfrm>
        </p:grpSpPr>
        <p:sp>
          <p:nvSpPr>
            <p:cNvPr id="12" name="TextBox 174">
              <a:extLst>
                <a:ext uri="{FF2B5EF4-FFF2-40B4-BE49-F238E27FC236}">
                  <a16:creationId xmlns:a16="http://schemas.microsoft.com/office/drawing/2014/main" id="{70B7BEC1-5A8A-DF87-031B-B0BA669C1D6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782587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요청하기 버튼</a:t>
              </a:r>
              <a:endPara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  <p:sp>
          <p:nvSpPr>
            <p:cNvPr id="14" name="모서리가 둥근 직사각형 84">
              <a:extLst>
                <a:ext uri="{FF2B5EF4-FFF2-40B4-BE49-F238E27FC236}">
                  <a16:creationId xmlns:a16="http://schemas.microsoft.com/office/drawing/2014/main" id="{E5DEFAC8-2D7A-9592-6F25-7D18E434603A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4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15" name="TextBox 174">
            <a:extLst>
              <a:ext uri="{FF2B5EF4-FFF2-40B4-BE49-F238E27FC236}">
                <a16:creationId xmlns:a16="http://schemas.microsoft.com/office/drawing/2014/main" id="{E6B5B3B0-9301-D2F2-EC4F-A20F8528E52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60495" y="4351197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클릭 시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선택한 정보를 바탕으로 방문점검 요청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grpSp>
        <p:nvGrpSpPr>
          <p:cNvPr id="16" name="그룹 15">
            <a:extLst>
              <a:ext uri="{FF2B5EF4-FFF2-40B4-BE49-F238E27FC236}">
                <a16:creationId xmlns:a16="http://schemas.microsoft.com/office/drawing/2014/main" id="{03BFC9D9-A693-B641-7931-D86F38C4F422}"/>
              </a:ext>
            </a:extLst>
          </p:cNvPr>
          <p:cNvGrpSpPr/>
          <p:nvPr/>
        </p:nvGrpSpPr>
        <p:grpSpPr>
          <a:xfrm>
            <a:off x="9292129" y="3210053"/>
            <a:ext cx="1073920" cy="230832"/>
            <a:chOff x="7316687" y="3282664"/>
            <a:chExt cx="1073920" cy="230832"/>
          </a:xfrm>
        </p:grpSpPr>
        <p:sp>
          <p:nvSpPr>
            <p:cNvPr id="17" name="TextBox 174">
              <a:extLst>
                <a:ext uri="{FF2B5EF4-FFF2-40B4-BE49-F238E27FC236}">
                  <a16:creationId xmlns:a16="http://schemas.microsoft.com/office/drawing/2014/main" id="{CA893E15-8771-0162-CE4E-8F6DB929876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89960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서비스 기관 선택</a:t>
              </a:r>
            </a:p>
          </p:txBody>
        </p:sp>
        <p:sp>
          <p:nvSpPr>
            <p:cNvPr id="18" name="모서리가 둥근 직사각형 84">
              <a:extLst>
                <a:ext uri="{FF2B5EF4-FFF2-40B4-BE49-F238E27FC236}">
                  <a16:creationId xmlns:a16="http://schemas.microsoft.com/office/drawing/2014/main" id="{ACDA0A8B-9E1E-6046-06AC-F020D1117C5D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3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19" name="TextBox 174">
            <a:extLst>
              <a:ext uri="{FF2B5EF4-FFF2-40B4-BE49-F238E27FC236}">
                <a16:creationId xmlns:a16="http://schemas.microsoft.com/office/drawing/2014/main" id="{84A08EA4-89A2-0B73-25BB-2F25954A9B8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52901" y="3430340"/>
            <a:ext cx="2573667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재활공학연구소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알스텝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함길수제화 </a:t>
            </a:r>
            <a:r>
              <a:rPr lang="en-US" altLang="ko-Kore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&amp; </a:t>
            </a: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의지보조기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grpSp>
        <p:nvGrpSpPr>
          <p:cNvPr id="20" name="그룹 19">
            <a:extLst>
              <a:ext uri="{FF2B5EF4-FFF2-40B4-BE49-F238E27FC236}">
                <a16:creationId xmlns:a16="http://schemas.microsoft.com/office/drawing/2014/main" id="{FB770974-2695-2E47-574C-39117DCF6542}"/>
              </a:ext>
            </a:extLst>
          </p:cNvPr>
          <p:cNvGrpSpPr/>
          <p:nvPr/>
        </p:nvGrpSpPr>
        <p:grpSpPr>
          <a:xfrm>
            <a:off x="9298103" y="1647761"/>
            <a:ext cx="1149262" cy="230832"/>
            <a:chOff x="7316687" y="3282664"/>
            <a:chExt cx="1149262" cy="230832"/>
          </a:xfrm>
        </p:grpSpPr>
        <p:sp>
          <p:nvSpPr>
            <p:cNvPr id="21" name="TextBox 174">
              <a:extLst>
                <a:ext uri="{FF2B5EF4-FFF2-40B4-BE49-F238E27FC236}">
                  <a16:creationId xmlns:a16="http://schemas.microsoft.com/office/drawing/2014/main" id="{FEEA08F1-9E97-DE5F-4C6A-142131A375B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974947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재활보조기구 선택</a:t>
              </a:r>
            </a:p>
          </p:txBody>
        </p:sp>
        <p:sp>
          <p:nvSpPr>
            <p:cNvPr id="22" name="모서리가 둥근 직사각형 84">
              <a:extLst>
                <a:ext uri="{FF2B5EF4-FFF2-40B4-BE49-F238E27FC236}">
                  <a16:creationId xmlns:a16="http://schemas.microsoft.com/office/drawing/2014/main" id="{0B41959C-40BD-4FFD-12F0-C22D42B2407B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1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3" name="TextBox 174">
            <a:extLst>
              <a:ext uri="{FF2B5EF4-FFF2-40B4-BE49-F238E27FC236}">
                <a16:creationId xmlns:a16="http://schemas.microsoft.com/office/drawing/2014/main" id="{1E7EDC44-FD6B-4987-6408-CCBD0BDFC15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58875" y="1868048"/>
            <a:ext cx="2573667" cy="4078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클릭 시</a:t>
            </a:r>
            <a:r>
              <a:rPr lang="en-US" altLang="ko-Kore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, </a:t>
            </a: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재활보조기구 선택 다이얼로그 표출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선택 완료 시</a:t>
            </a:r>
            <a:r>
              <a:rPr lang="en-US" altLang="ko-Kore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해당 재활보조기구 표출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grpSp>
        <p:nvGrpSpPr>
          <p:cNvPr id="24" name="그룹 23">
            <a:extLst>
              <a:ext uri="{FF2B5EF4-FFF2-40B4-BE49-F238E27FC236}">
                <a16:creationId xmlns:a16="http://schemas.microsoft.com/office/drawing/2014/main" id="{4382B101-01D6-F6AD-C0CB-68B46EF68B19}"/>
              </a:ext>
            </a:extLst>
          </p:cNvPr>
          <p:cNvGrpSpPr/>
          <p:nvPr/>
        </p:nvGrpSpPr>
        <p:grpSpPr>
          <a:xfrm>
            <a:off x="9302835" y="2420888"/>
            <a:ext cx="977740" cy="230832"/>
            <a:chOff x="7316687" y="3282664"/>
            <a:chExt cx="977740" cy="230832"/>
          </a:xfrm>
        </p:grpSpPr>
        <p:sp>
          <p:nvSpPr>
            <p:cNvPr id="25" name="TextBox 174">
              <a:extLst>
                <a:ext uri="{FF2B5EF4-FFF2-40B4-BE49-F238E27FC236}">
                  <a16:creationId xmlns:a16="http://schemas.microsoft.com/office/drawing/2014/main" id="{D6B47871-A316-387F-7D41-A12DA92F3E7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80342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접수 유형 선택</a:t>
              </a:r>
            </a:p>
          </p:txBody>
        </p:sp>
        <p:sp>
          <p:nvSpPr>
            <p:cNvPr id="26" name="모서리가 둥근 직사각형 84">
              <a:extLst>
                <a:ext uri="{FF2B5EF4-FFF2-40B4-BE49-F238E27FC236}">
                  <a16:creationId xmlns:a16="http://schemas.microsoft.com/office/drawing/2014/main" id="{121361CD-C8FD-F360-F08F-74F33640F422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2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7" name="TextBox 174">
            <a:extLst>
              <a:ext uri="{FF2B5EF4-FFF2-40B4-BE49-F238E27FC236}">
                <a16:creationId xmlns:a16="http://schemas.microsoft.com/office/drawing/2014/main" id="{05C7EE4D-D4E4-9C81-1C68-28D80AA1B8E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63607" y="2641175"/>
            <a:ext cx="2573667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고장불편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내구연한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예방점검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sp>
        <p:nvSpPr>
          <p:cNvPr id="28" name="모서리가 둥근 직사각형 84">
            <a:extLst>
              <a:ext uri="{FF2B5EF4-FFF2-40B4-BE49-F238E27FC236}">
                <a16:creationId xmlns:a16="http://schemas.microsoft.com/office/drawing/2014/main" id="{C1FD9A16-A051-0A77-AFAD-BB554AEF9C45}"/>
              </a:ext>
            </a:extLst>
          </p:cNvPr>
          <p:cNvSpPr/>
          <p:nvPr/>
        </p:nvSpPr>
        <p:spPr>
          <a:xfrm>
            <a:off x="531279" y="2688506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1</a:t>
            </a:r>
            <a:endParaRPr lang="ko-KR" altLang="en-US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29" name="모서리가 둥근 직사각형 84">
            <a:extLst>
              <a:ext uri="{FF2B5EF4-FFF2-40B4-BE49-F238E27FC236}">
                <a16:creationId xmlns:a16="http://schemas.microsoft.com/office/drawing/2014/main" id="{357B2DF3-36D1-E1A0-C769-F1E6FD69A32E}"/>
              </a:ext>
            </a:extLst>
          </p:cNvPr>
          <p:cNvSpPr/>
          <p:nvPr/>
        </p:nvSpPr>
        <p:spPr>
          <a:xfrm>
            <a:off x="535815" y="3209839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2</a:t>
            </a:r>
            <a:endParaRPr lang="ko-KR" altLang="en-US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30" name="모서리가 둥근 직사각형 84">
            <a:extLst>
              <a:ext uri="{FF2B5EF4-FFF2-40B4-BE49-F238E27FC236}">
                <a16:creationId xmlns:a16="http://schemas.microsoft.com/office/drawing/2014/main" id="{0A1928DD-7310-747E-0A38-55696C21E97A}"/>
              </a:ext>
            </a:extLst>
          </p:cNvPr>
          <p:cNvSpPr/>
          <p:nvPr/>
        </p:nvSpPr>
        <p:spPr>
          <a:xfrm>
            <a:off x="543271" y="3668176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3</a:t>
            </a:r>
            <a:endParaRPr lang="ko-KR" altLang="en-US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31" name="모서리가 둥근 직사각형 84">
            <a:extLst>
              <a:ext uri="{FF2B5EF4-FFF2-40B4-BE49-F238E27FC236}">
                <a16:creationId xmlns:a16="http://schemas.microsoft.com/office/drawing/2014/main" id="{793E9EA7-2B27-9FC3-3807-F16F6E043EB6}"/>
              </a:ext>
            </a:extLst>
          </p:cNvPr>
          <p:cNvSpPr/>
          <p:nvPr/>
        </p:nvSpPr>
        <p:spPr>
          <a:xfrm>
            <a:off x="533897" y="4293882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4</a:t>
            </a:r>
            <a:endParaRPr lang="ko-KR" altLang="en-US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8703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다이어그램 4">
            <a:extLst>
              <a:ext uri="{FF2B5EF4-FFF2-40B4-BE49-F238E27FC236}">
                <a16:creationId xmlns:a16="http://schemas.microsoft.com/office/drawing/2014/main" id="{9F7D3DE6-9D15-4EEC-AD98-76D85391EB7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50008864"/>
              </p:ext>
            </p:extLst>
          </p:nvPr>
        </p:nvGraphicFramePr>
        <p:xfrm>
          <a:off x="373210" y="980728"/>
          <a:ext cx="11411422" cy="55072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제목 1">
            <a:extLst>
              <a:ext uri="{FF2B5EF4-FFF2-40B4-BE49-F238E27FC236}">
                <a16:creationId xmlns:a16="http://schemas.microsoft.com/office/drawing/2014/main" id="{0C5286BA-92CE-41FB-BB05-BE0F5BBA1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사이트맵</a:t>
            </a:r>
          </a:p>
        </p:txBody>
      </p:sp>
    </p:spTree>
    <p:extLst>
      <p:ext uri="{BB962C8B-B14F-4D97-AF65-F5344CB8AC3E}">
        <p14:creationId xmlns:p14="http://schemas.microsoft.com/office/powerpoint/2010/main" val="2354933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C5286BA-92CE-41FB-BB05-BE0F5BBA1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방문점검</a:t>
            </a:r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B73B35C2-EB8A-4573-B037-7CC6DF06F86A}"/>
              </a:ext>
            </a:extLst>
          </p:cNvPr>
          <p:cNvGrpSpPr/>
          <p:nvPr/>
        </p:nvGrpSpPr>
        <p:grpSpPr>
          <a:xfrm>
            <a:off x="0" y="-3562"/>
            <a:ext cx="9226508" cy="6816938"/>
            <a:chOff x="-1952021" y="-3562"/>
            <a:chExt cx="9226508" cy="6816938"/>
          </a:xfrm>
        </p:grpSpPr>
        <p:cxnSp>
          <p:nvCxnSpPr>
            <p:cNvPr id="6" name="직선 연결선 5">
              <a:extLst>
                <a:ext uri="{FF2B5EF4-FFF2-40B4-BE49-F238E27FC236}">
                  <a16:creationId xmlns:a16="http://schemas.microsoft.com/office/drawing/2014/main" id="{B4C45666-B8F5-4C50-86A6-C4C0BE1D6FE0}"/>
                </a:ext>
              </a:extLst>
            </p:cNvPr>
            <p:cNvCxnSpPr>
              <a:cxnSpLocks/>
            </p:cNvCxnSpPr>
            <p:nvPr/>
          </p:nvCxnSpPr>
          <p:spPr>
            <a:xfrm>
              <a:off x="7257256" y="-3562"/>
              <a:ext cx="0" cy="6816938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직선 연결선 6">
              <a:extLst>
                <a:ext uri="{FF2B5EF4-FFF2-40B4-BE49-F238E27FC236}">
                  <a16:creationId xmlns:a16="http://schemas.microsoft.com/office/drawing/2014/main" id="{4860EB04-C536-404F-98C0-823E8ADC86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1952021" y="1563825"/>
              <a:ext cx="9226508" cy="0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0B76F625-D0A3-4C9E-8D76-BC231976DDDC}"/>
              </a:ext>
            </a:extLst>
          </p:cNvPr>
          <p:cNvGrpSpPr/>
          <p:nvPr/>
        </p:nvGrpSpPr>
        <p:grpSpPr>
          <a:xfrm>
            <a:off x="479376" y="908720"/>
            <a:ext cx="6759312" cy="338554"/>
            <a:chOff x="479376" y="-963488"/>
            <a:chExt cx="6759312" cy="338554"/>
          </a:xfrm>
        </p:grpSpPr>
        <p:sp>
          <p:nvSpPr>
            <p:cNvPr id="9" name="사각형: 둥근 모서리 8">
              <a:extLst>
                <a:ext uri="{FF2B5EF4-FFF2-40B4-BE49-F238E27FC236}">
                  <a16:creationId xmlns:a16="http://schemas.microsoft.com/office/drawing/2014/main" id="{F66EE92C-BEAA-4A28-9FFE-528E99678B1D}"/>
                </a:ext>
              </a:extLst>
            </p:cNvPr>
            <p:cNvSpPr/>
            <p:nvPr/>
          </p:nvSpPr>
          <p:spPr>
            <a:xfrm>
              <a:off x="479376" y="-946863"/>
              <a:ext cx="590358" cy="305304"/>
            </a:xfrm>
            <a:prstGeom prst="roundRect">
              <a:avLst>
                <a:gd name="adj" fmla="val 50000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>
                      <a:alpha val="50000"/>
                    </a:schemeClr>
                  </a:solidFill>
                  <a:latin typeface="+mn-ea"/>
                  <a:cs typeface="Arial" panose="020B0604020202020204" pitchFamily="34" charset="0"/>
                </a:rPr>
                <a:t>0</a:t>
              </a:r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C8869CF-0725-41FD-AE4C-2AF26212AA85}"/>
                </a:ext>
              </a:extLst>
            </p:cNvPr>
            <p:cNvSpPr txBox="1"/>
            <p:nvPr/>
          </p:nvSpPr>
          <p:spPr>
            <a:xfrm>
              <a:off x="1127448" y="-963488"/>
              <a:ext cx="6111240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R="0" indent="0" algn="just" fontAlgn="base" latinLnBrk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 sz="1600" kern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defRPr>
              </a:lvl1pPr>
            </a:lstStyle>
            <a:p>
              <a:r>
                <a:rPr lang="ko-KR" altLang="en-US"/>
                <a:t>방문점검 </a:t>
              </a:r>
              <a:r>
                <a:rPr lang="en-US" altLang="ko-KR"/>
                <a:t>– </a:t>
              </a:r>
              <a:r>
                <a:rPr lang="ko-KR" altLang="en-US"/>
                <a:t>방문점검이력</a:t>
              </a:r>
              <a:endParaRPr lang="en-US" altLang="ko-KR" dirty="0"/>
            </a:p>
          </p:txBody>
        </p:sp>
      </p:grpSp>
      <p:grpSp>
        <p:nvGrpSpPr>
          <p:cNvPr id="13" name="그룹 12">
            <a:extLst>
              <a:ext uri="{FF2B5EF4-FFF2-40B4-BE49-F238E27FC236}">
                <a16:creationId xmlns:a16="http://schemas.microsoft.com/office/drawing/2014/main" id="{EA61AABB-763C-4099-9CE1-15F2EDE67DEE}"/>
              </a:ext>
            </a:extLst>
          </p:cNvPr>
          <p:cNvGrpSpPr/>
          <p:nvPr/>
        </p:nvGrpSpPr>
        <p:grpSpPr>
          <a:xfrm>
            <a:off x="9291110" y="2357516"/>
            <a:ext cx="1266281" cy="230832"/>
            <a:chOff x="7316687" y="3282664"/>
            <a:chExt cx="1266281" cy="230832"/>
          </a:xfrm>
        </p:grpSpPr>
        <p:sp>
          <p:nvSpPr>
            <p:cNvPr id="14" name="TextBox 174">
              <a:extLst>
                <a:ext uri="{FF2B5EF4-FFF2-40B4-BE49-F238E27FC236}">
                  <a16:creationId xmlns:a16="http://schemas.microsoft.com/office/drawing/2014/main" id="{C288D2FF-CEA5-42D7-8C24-9FAAD3CC22A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1091966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완료된 예방점검 결과</a:t>
              </a:r>
            </a:p>
          </p:txBody>
        </p:sp>
        <p:sp>
          <p:nvSpPr>
            <p:cNvPr id="15" name="모서리가 둥근 직사각형 84">
              <a:extLst>
                <a:ext uri="{FF2B5EF4-FFF2-40B4-BE49-F238E27FC236}">
                  <a16:creationId xmlns:a16="http://schemas.microsoft.com/office/drawing/2014/main" id="{D5F6E253-FFAA-49C6-A731-83BB221FCE72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2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16" name="TextBox 174">
            <a:extLst>
              <a:ext uri="{FF2B5EF4-FFF2-40B4-BE49-F238E27FC236}">
                <a16:creationId xmlns:a16="http://schemas.microsoft.com/office/drawing/2014/main" id="{A7CC6569-E5DE-432A-AA50-4F4844C7302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44873" y="2580891"/>
            <a:ext cx="2573667" cy="7617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3"/>
              </a:buBlip>
              <a:defRPr/>
            </a:pPr>
            <a:r>
              <a:rPr lang="ko-KR" altLang="en-US" sz="900" spc="-150" dirty="0" err="1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장비명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3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예방점검 완료 일시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3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점검내용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3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점검결과 사진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sp>
        <p:nvSpPr>
          <p:cNvPr id="18" name="모서리가 둥근 직사각형 84">
            <a:extLst>
              <a:ext uri="{FF2B5EF4-FFF2-40B4-BE49-F238E27FC236}">
                <a16:creationId xmlns:a16="http://schemas.microsoft.com/office/drawing/2014/main" id="{B7AC51BB-86C5-43C1-8DEC-EAE816BC1F2A}"/>
              </a:ext>
            </a:extLst>
          </p:cNvPr>
          <p:cNvSpPr/>
          <p:nvPr/>
        </p:nvSpPr>
        <p:spPr>
          <a:xfrm>
            <a:off x="3575720" y="2340659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3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19" name="모서리가 둥근 직사각형 84">
            <a:extLst>
              <a:ext uri="{FF2B5EF4-FFF2-40B4-BE49-F238E27FC236}">
                <a16:creationId xmlns:a16="http://schemas.microsoft.com/office/drawing/2014/main" id="{C35DA75F-8F54-4FEE-ABE7-D325EFA5C9A4}"/>
              </a:ext>
            </a:extLst>
          </p:cNvPr>
          <p:cNvSpPr/>
          <p:nvPr/>
        </p:nvSpPr>
        <p:spPr>
          <a:xfrm>
            <a:off x="1034927" y="2358545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1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grpSp>
        <p:nvGrpSpPr>
          <p:cNvPr id="20" name="그룹 19">
            <a:extLst>
              <a:ext uri="{FF2B5EF4-FFF2-40B4-BE49-F238E27FC236}">
                <a16:creationId xmlns:a16="http://schemas.microsoft.com/office/drawing/2014/main" id="{E08DC8C9-DF64-43FE-9CAB-D7302DD347EA}"/>
              </a:ext>
            </a:extLst>
          </p:cNvPr>
          <p:cNvGrpSpPr/>
          <p:nvPr/>
        </p:nvGrpSpPr>
        <p:grpSpPr>
          <a:xfrm>
            <a:off x="9303151" y="1740734"/>
            <a:ext cx="1266281" cy="230832"/>
            <a:chOff x="7316687" y="3282664"/>
            <a:chExt cx="1266281" cy="230832"/>
          </a:xfrm>
        </p:grpSpPr>
        <p:sp>
          <p:nvSpPr>
            <p:cNvPr id="21" name="TextBox 174">
              <a:extLst>
                <a:ext uri="{FF2B5EF4-FFF2-40B4-BE49-F238E27FC236}">
                  <a16:creationId xmlns:a16="http://schemas.microsoft.com/office/drawing/2014/main" id="{CA919299-CD3D-4702-A1FE-63348DB9A27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1091966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완료된 예방점검 목록</a:t>
              </a:r>
            </a:p>
          </p:txBody>
        </p:sp>
        <p:sp>
          <p:nvSpPr>
            <p:cNvPr id="22" name="모서리가 둥근 직사각형 84">
              <a:extLst>
                <a:ext uri="{FF2B5EF4-FFF2-40B4-BE49-F238E27FC236}">
                  <a16:creationId xmlns:a16="http://schemas.microsoft.com/office/drawing/2014/main" id="{F6425515-6BC0-4A85-80A2-604681BBB37F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1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3" name="TextBox 174">
            <a:extLst>
              <a:ext uri="{FF2B5EF4-FFF2-40B4-BE49-F238E27FC236}">
                <a16:creationId xmlns:a16="http://schemas.microsoft.com/office/drawing/2014/main" id="{8284B7B7-4EA6-4331-A550-876B1B37056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63923" y="1961021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3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완료된 예방점검 목록 조회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pic>
        <p:nvPicPr>
          <p:cNvPr id="4" name="그림 3" descr="텍스트, 폰트, 스크린샷이(가) 표시된 사진&#10;&#10;자동 생성된 설명">
            <a:extLst>
              <a:ext uri="{FF2B5EF4-FFF2-40B4-BE49-F238E27FC236}">
                <a16:creationId xmlns:a16="http://schemas.microsoft.com/office/drawing/2014/main" id="{77092E1E-996D-7E68-07BC-AA077422FDC3}"/>
              </a:ext>
            </a:extLst>
          </p:cNvPr>
          <p:cNvPicPr>
            <a:picLocks/>
          </p:cNvPicPr>
          <p:nvPr/>
        </p:nvPicPr>
        <p:blipFill rotWithShape="1">
          <a:blip r:embed="rId4"/>
          <a:srcRect b="6154"/>
          <a:stretch/>
        </p:blipFill>
        <p:spPr>
          <a:xfrm>
            <a:off x="597600" y="2062801"/>
            <a:ext cx="2052000" cy="4031999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24" name="그림 23">
            <a:extLst>
              <a:ext uri="{FF2B5EF4-FFF2-40B4-BE49-F238E27FC236}">
                <a16:creationId xmlns:a16="http://schemas.microsoft.com/office/drawing/2014/main" id="{803F7884-79A6-750D-46D3-5E0B121D636F}"/>
              </a:ext>
            </a:extLst>
          </p:cNvPr>
          <p:cNvPicPr>
            <a:picLocks/>
          </p:cNvPicPr>
          <p:nvPr/>
        </p:nvPicPr>
        <p:blipFill rotWithShape="1">
          <a:blip r:embed="rId5"/>
          <a:srcRect b="6154"/>
          <a:stretch/>
        </p:blipFill>
        <p:spPr>
          <a:xfrm>
            <a:off x="2880000" y="2062801"/>
            <a:ext cx="2052000" cy="4031999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26" name="그림 25" descr="스크린샷, 텍스트, 통신 장치, 정보기기이(가) 표시된 사진&#10;&#10;자동 생성된 설명">
            <a:extLst>
              <a:ext uri="{FF2B5EF4-FFF2-40B4-BE49-F238E27FC236}">
                <a16:creationId xmlns:a16="http://schemas.microsoft.com/office/drawing/2014/main" id="{1D03137D-7E38-C421-1CC6-65FEBCF84693}"/>
              </a:ext>
            </a:extLst>
          </p:cNvPr>
          <p:cNvPicPr>
            <a:picLocks/>
          </p:cNvPicPr>
          <p:nvPr/>
        </p:nvPicPr>
        <p:blipFill rotWithShape="1">
          <a:blip r:embed="rId6"/>
          <a:srcRect b="6154"/>
          <a:stretch/>
        </p:blipFill>
        <p:spPr>
          <a:xfrm>
            <a:off x="5162400" y="2062800"/>
            <a:ext cx="2052000" cy="4031999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11" name="모서리가 둥근 직사각형 84">
            <a:extLst>
              <a:ext uri="{FF2B5EF4-FFF2-40B4-BE49-F238E27FC236}">
                <a16:creationId xmlns:a16="http://schemas.microsoft.com/office/drawing/2014/main" id="{5A99F469-BE21-F0DF-DA47-8B4A1431F366}"/>
              </a:ext>
            </a:extLst>
          </p:cNvPr>
          <p:cNvSpPr/>
          <p:nvPr/>
        </p:nvSpPr>
        <p:spPr>
          <a:xfrm>
            <a:off x="423247" y="2757615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1</a:t>
            </a:r>
            <a:endParaRPr lang="ko-KR" altLang="en-US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12" name="모서리가 둥근 직사각형 84">
            <a:extLst>
              <a:ext uri="{FF2B5EF4-FFF2-40B4-BE49-F238E27FC236}">
                <a16:creationId xmlns:a16="http://schemas.microsoft.com/office/drawing/2014/main" id="{D73BCC80-9CC1-76A8-8B3D-9F1CACFD112F}"/>
              </a:ext>
            </a:extLst>
          </p:cNvPr>
          <p:cNvSpPr/>
          <p:nvPr/>
        </p:nvSpPr>
        <p:spPr>
          <a:xfrm>
            <a:off x="2798168" y="2572574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2</a:t>
            </a:r>
            <a:endParaRPr lang="ko-KR" altLang="en-US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17" name="모서리가 둥근 직사각형 84">
            <a:extLst>
              <a:ext uri="{FF2B5EF4-FFF2-40B4-BE49-F238E27FC236}">
                <a16:creationId xmlns:a16="http://schemas.microsoft.com/office/drawing/2014/main" id="{FB1D9AD5-AB6E-24A2-BCA4-70FC20A9DD24}"/>
              </a:ext>
            </a:extLst>
          </p:cNvPr>
          <p:cNvSpPr/>
          <p:nvPr/>
        </p:nvSpPr>
        <p:spPr>
          <a:xfrm>
            <a:off x="5028964" y="2897991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3</a:t>
            </a:r>
            <a:endParaRPr lang="ko-KR" altLang="en-US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grpSp>
        <p:nvGrpSpPr>
          <p:cNvPr id="27" name="그룹 26">
            <a:extLst>
              <a:ext uri="{FF2B5EF4-FFF2-40B4-BE49-F238E27FC236}">
                <a16:creationId xmlns:a16="http://schemas.microsoft.com/office/drawing/2014/main" id="{DFB813C9-ADC0-E28E-C07D-B0EAA5B6186D}"/>
              </a:ext>
            </a:extLst>
          </p:cNvPr>
          <p:cNvGrpSpPr/>
          <p:nvPr/>
        </p:nvGrpSpPr>
        <p:grpSpPr>
          <a:xfrm>
            <a:off x="9304927" y="3414192"/>
            <a:ext cx="1383300" cy="230832"/>
            <a:chOff x="7316687" y="3282664"/>
            <a:chExt cx="1383300" cy="230832"/>
          </a:xfrm>
        </p:grpSpPr>
        <p:sp>
          <p:nvSpPr>
            <p:cNvPr id="28" name="TextBox 174">
              <a:extLst>
                <a:ext uri="{FF2B5EF4-FFF2-40B4-BE49-F238E27FC236}">
                  <a16:creationId xmlns:a16="http://schemas.microsoft.com/office/drawing/2014/main" id="{C469ACE9-E704-ADD1-1795-EFB9E90A70E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120898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예방점검 결과 사진 확대</a:t>
              </a:r>
            </a:p>
          </p:txBody>
        </p:sp>
        <p:sp>
          <p:nvSpPr>
            <p:cNvPr id="29" name="모서리가 둥근 직사각형 84">
              <a:extLst>
                <a:ext uri="{FF2B5EF4-FFF2-40B4-BE49-F238E27FC236}">
                  <a16:creationId xmlns:a16="http://schemas.microsoft.com/office/drawing/2014/main" id="{E44BE7E9-F40A-6E20-370B-A7D6E74D0D75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3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46413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C5286BA-92CE-41FB-BB05-BE0F5BBA1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방문점검</a:t>
            </a:r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B73B35C2-EB8A-4573-B037-7CC6DF06F86A}"/>
              </a:ext>
            </a:extLst>
          </p:cNvPr>
          <p:cNvGrpSpPr/>
          <p:nvPr/>
        </p:nvGrpSpPr>
        <p:grpSpPr>
          <a:xfrm>
            <a:off x="0" y="-3562"/>
            <a:ext cx="9226508" cy="6816938"/>
            <a:chOff x="-1952021" y="-3562"/>
            <a:chExt cx="9226508" cy="6816938"/>
          </a:xfrm>
        </p:grpSpPr>
        <p:cxnSp>
          <p:nvCxnSpPr>
            <p:cNvPr id="6" name="직선 연결선 5">
              <a:extLst>
                <a:ext uri="{FF2B5EF4-FFF2-40B4-BE49-F238E27FC236}">
                  <a16:creationId xmlns:a16="http://schemas.microsoft.com/office/drawing/2014/main" id="{B4C45666-B8F5-4C50-86A6-C4C0BE1D6FE0}"/>
                </a:ext>
              </a:extLst>
            </p:cNvPr>
            <p:cNvCxnSpPr>
              <a:cxnSpLocks/>
            </p:cNvCxnSpPr>
            <p:nvPr/>
          </p:nvCxnSpPr>
          <p:spPr>
            <a:xfrm>
              <a:off x="7257256" y="-3562"/>
              <a:ext cx="0" cy="6816938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직선 연결선 6">
              <a:extLst>
                <a:ext uri="{FF2B5EF4-FFF2-40B4-BE49-F238E27FC236}">
                  <a16:creationId xmlns:a16="http://schemas.microsoft.com/office/drawing/2014/main" id="{4860EB04-C536-404F-98C0-823E8ADC86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1952021" y="1563825"/>
              <a:ext cx="9226508" cy="0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0B76F625-D0A3-4C9E-8D76-BC231976DDDC}"/>
              </a:ext>
            </a:extLst>
          </p:cNvPr>
          <p:cNvGrpSpPr/>
          <p:nvPr/>
        </p:nvGrpSpPr>
        <p:grpSpPr>
          <a:xfrm>
            <a:off x="479376" y="908720"/>
            <a:ext cx="6759312" cy="338554"/>
            <a:chOff x="479376" y="-963488"/>
            <a:chExt cx="6759312" cy="338554"/>
          </a:xfrm>
        </p:grpSpPr>
        <p:sp>
          <p:nvSpPr>
            <p:cNvPr id="9" name="사각형: 둥근 모서리 8">
              <a:extLst>
                <a:ext uri="{FF2B5EF4-FFF2-40B4-BE49-F238E27FC236}">
                  <a16:creationId xmlns:a16="http://schemas.microsoft.com/office/drawing/2014/main" id="{F66EE92C-BEAA-4A28-9FFE-528E99678B1D}"/>
                </a:ext>
              </a:extLst>
            </p:cNvPr>
            <p:cNvSpPr/>
            <p:nvPr/>
          </p:nvSpPr>
          <p:spPr>
            <a:xfrm>
              <a:off x="479376" y="-946863"/>
              <a:ext cx="590358" cy="305304"/>
            </a:xfrm>
            <a:prstGeom prst="roundRect">
              <a:avLst>
                <a:gd name="adj" fmla="val 50000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>
                      <a:alpha val="50000"/>
                    </a:schemeClr>
                  </a:solidFill>
                  <a:latin typeface="+mn-ea"/>
                  <a:cs typeface="Arial" panose="020B0604020202020204" pitchFamily="34" charset="0"/>
                </a:rPr>
                <a:t>0</a:t>
              </a:r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C8869CF-0725-41FD-AE4C-2AF26212AA85}"/>
                </a:ext>
              </a:extLst>
            </p:cNvPr>
            <p:cNvSpPr txBox="1"/>
            <p:nvPr/>
          </p:nvSpPr>
          <p:spPr>
            <a:xfrm>
              <a:off x="1127448" y="-963488"/>
              <a:ext cx="6111240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R="0" indent="0" algn="just" fontAlgn="base" latinLnBrk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 sz="1600" kern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defRPr>
              </a:lvl1pPr>
            </a:lstStyle>
            <a:p>
              <a:r>
                <a:rPr lang="ko-KR" altLang="en-US"/>
                <a:t>방문점검 </a:t>
              </a:r>
              <a:r>
                <a:rPr lang="en-US" altLang="ko-KR" dirty="0"/>
                <a:t>– </a:t>
              </a:r>
              <a:r>
                <a:rPr lang="ko-KR" altLang="en-US" dirty="0"/>
                <a:t>서비스 </a:t>
              </a:r>
              <a:r>
                <a:rPr lang="ko-KR" altLang="en-US"/>
                <a:t>만족도 입력</a:t>
              </a:r>
              <a:endParaRPr lang="en-US" altLang="ko-KR" dirty="0"/>
            </a:p>
          </p:txBody>
        </p:sp>
      </p:grpSp>
      <p:pic>
        <p:nvPicPr>
          <p:cNvPr id="14" name="그림 13" descr="텍스트, 스크린샷, 번호, 폰트이(가) 표시된 사진&#10;&#10;자동 생성된 설명">
            <a:extLst>
              <a:ext uri="{FF2B5EF4-FFF2-40B4-BE49-F238E27FC236}">
                <a16:creationId xmlns:a16="http://schemas.microsoft.com/office/drawing/2014/main" id="{E166D7EE-2452-1DA7-EF14-0FAD942D8BC7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597600" y="2062800"/>
            <a:ext cx="2052000" cy="4294800"/>
          </a:xfrm>
          <a:prstGeom prst="rect">
            <a:avLst/>
          </a:prstGeom>
        </p:spPr>
      </p:pic>
      <p:grpSp>
        <p:nvGrpSpPr>
          <p:cNvPr id="20" name="그룹 19">
            <a:extLst>
              <a:ext uri="{FF2B5EF4-FFF2-40B4-BE49-F238E27FC236}">
                <a16:creationId xmlns:a16="http://schemas.microsoft.com/office/drawing/2014/main" id="{FA2CA8B5-F086-BAAA-6E31-6E0E7A321F66}"/>
              </a:ext>
            </a:extLst>
          </p:cNvPr>
          <p:cNvGrpSpPr/>
          <p:nvPr/>
        </p:nvGrpSpPr>
        <p:grpSpPr>
          <a:xfrm>
            <a:off x="9298103" y="1647761"/>
            <a:ext cx="1383300" cy="230832"/>
            <a:chOff x="7316687" y="3282664"/>
            <a:chExt cx="1383300" cy="230832"/>
          </a:xfrm>
        </p:grpSpPr>
        <p:sp>
          <p:nvSpPr>
            <p:cNvPr id="21" name="TextBox 174">
              <a:extLst>
                <a:ext uri="{FF2B5EF4-FFF2-40B4-BE49-F238E27FC236}">
                  <a16:creationId xmlns:a16="http://schemas.microsoft.com/office/drawing/2014/main" id="{6618F140-5B77-46C4-0EE6-4B38892BEC9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120898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서비스 </a:t>
              </a: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만족도 조사 문항</a:t>
              </a:r>
              <a:endPara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  <p:sp>
          <p:nvSpPr>
            <p:cNvPr id="22" name="모서리가 둥근 직사각형 84">
              <a:extLst>
                <a:ext uri="{FF2B5EF4-FFF2-40B4-BE49-F238E27FC236}">
                  <a16:creationId xmlns:a16="http://schemas.microsoft.com/office/drawing/2014/main" id="{C64A1040-D185-4954-85E9-97878C87A751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1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3" name="TextBox 174">
            <a:extLst>
              <a:ext uri="{FF2B5EF4-FFF2-40B4-BE49-F238E27FC236}">
                <a16:creationId xmlns:a16="http://schemas.microsoft.com/office/drawing/2014/main" id="{22063134-070D-88B5-6B40-33106985087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58875" y="1868048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응답 문항 개수와</a:t>
            </a: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</a:t>
            </a: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총 문항의 개수 표출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grpSp>
        <p:nvGrpSpPr>
          <p:cNvPr id="24" name="그룹 23">
            <a:extLst>
              <a:ext uri="{FF2B5EF4-FFF2-40B4-BE49-F238E27FC236}">
                <a16:creationId xmlns:a16="http://schemas.microsoft.com/office/drawing/2014/main" id="{8196C676-A14B-0142-F730-10D512992C41}"/>
              </a:ext>
            </a:extLst>
          </p:cNvPr>
          <p:cNvGrpSpPr/>
          <p:nvPr/>
        </p:nvGrpSpPr>
        <p:grpSpPr>
          <a:xfrm>
            <a:off x="9299069" y="4057906"/>
            <a:ext cx="764541" cy="230832"/>
            <a:chOff x="7316687" y="3282664"/>
            <a:chExt cx="764541" cy="230832"/>
          </a:xfrm>
        </p:grpSpPr>
        <p:sp>
          <p:nvSpPr>
            <p:cNvPr id="25" name="TextBox 174">
              <a:extLst>
                <a:ext uri="{FF2B5EF4-FFF2-40B4-BE49-F238E27FC236}">
                  <a16:creationId xmlns:a16="http://schemas.microsoft.com/office/drawing/2014/main" id="{2DB9749F-40DB-314A-7123-72882328359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590226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이전 버튼</a:t>
              </a:r>
              <a:endPara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  <p:sp>
          <p:nvSpPr>
            <p:cNvPr id="26" name="모서리가 둥근 직사각형 84">
              <a:extLst>
                <a:ext uri="{FF2B5EF4-FFF2-40B4-BE49-F238E27FC236}">
                  <a16:creationId xmlns:a16="http://schemas.microsoft.com/office/drawing/2014/main" id="{A10073BF-1A7E-401B-46C3-26ABE5281818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4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7" name="TextBox 174">
            <a:extLst>
              <a:ext uri="{FF2B5EF4-FFF2-40B4-BE49-F238E27FC236}">
                <a16:creationId xmlns:a16="http://schemas.microsoft.com/office/drawing/2014/main" id="{EA976DB8-01F4-1EAC-9C69-7FC35940B3E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66048" y="4297315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클릭 시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,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이전 문항으로 이동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sp>
        <p:nvSpPr>
          <p:cNvPr id="28" name="모서리가 둥근 직사각형 84">
            <a:extLst>
              <a:ext uri="{FF2B5EF4-FFF2-40B4-BE49-F238E27FC236}">
                <a16:creationId xmlns:a16="http://schemas.microsoft.com/office/drawing/2014/main" id="{666C414E-70CA-6C7C-7DD4-9B067C82C922}"/>
              </a:ext>
            </a:extLst>
          </p:cNvPr>
          <p:cNvSpPr/>
          <p:nvPr/>
        </p:nvSpPr>
        <p:spPr>
          <a:xfrm>
            <a:off x="2135560" y="2634422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1</a:t>
            </a:r>
            <a:endParaRPr lang="ko-KR" altLang="en-US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29" name="모서리가 둥근 직사각형 84">
            <a:extLst>
              <a:ext uri="{FF2B5EF4-FFF2-40B4-BE49-F238E27FC236}">
                <a16:creationId xmlns:a16="http://schemas.microsoft.com/office/drawing/2014/main" id="{A8A2D4B0-D90F-5612-6B65-40FD13850A05}"/>
              </a:ext>
            </a:extLst>
          </p:cNvPr>
          <p:cNvSpPr/>
          <p:nvPr/>
        </p:nvSpPr>
        <p:spPr>
          <a:xfrm>
            <a:off x="527188" y="2773026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2</a:t>
            </a:r>
            <a:endParaRPr lang="ko-KR" altLang="en-US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30" name="모서리가 둥근 직사각형 84">
            <a:extLst>
              <a:ext uri="{FF2B5EF4-FFF2-40B4-BE49-F238E27FC236}">
                <a16:creationId xmlns:a16="http://schemas.microsoft.com/office/drawing/2014/main" id="{35681795-09DD-3654-16CD-C23C468E6FDB}"/>
              </a:ext>
            </a:extLst>
          </p:cNvPr>
          <p:cNvSpPr/>
          <p:nvPr/>
        </p:nvSpPr>
        <p:spPr>
          <a:xfrm>
            <a:off x="528174" y="4338012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4</a:t>
            </a:r>
            <a:endParaRPr lang="ko-KR" altLang="en-US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31" name="모서리가 둥근 직사각형 84">
            <a:extLst>
              <a:ext uri="{FF2B5EF4-FFF2-40B4-BE49-F238E27FC236}">
                <a16:creationId xmlns:a16="http://schemas.microsoft.com/office/drawing/2014/main" id="{A8402376-F440-157E-696B-5FD08B14BB36}"/>
              </a:ext>
            </a:extLst>
          </p:cNvPr>
          <p:cNvSpPr/>
          <p:nvPr/>
        </p:nvSpPr>
        <p:spPr>
          <a:xfrm>
            <a:off x="1847528" y="2949910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3</a:t>
            </a:r>
            <a:endParaRPr lang="ko-KR" altLang="en-US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grpSp>
        <p:nvGrpSpPr>
          <p:cNvPr id="37" name="그룹 36">
            <a:extLst>
              <a:ext uri="{FF2B5EF4-FFF2-40B4-BE49-F238E27FC236}">
                <a16:creationId xmlns:a16="http://schemas.microsoft.com/office/drawing/2014/main" id="{79A70952-47AE-114C-7231-AFAB58E20A07}"/>
              </a:ext>
            </a:extLst>
          </p:cNvPr>
          <p:cNvGrpSpPr/>
          <p:nvPr/>
        </p:nvGrpSpPr>
        <p:grpSpPr>
          <a:xfrm>
            <a:off x="9299835" y="2112953"/>
            <a:ext cx="881560" cy="230832"/>
            <a:chOff x="7316687" y="3282664"/>
            <a:chExt cx="881560" cy="230832"/>
          </a:xfrm>
        </p:grpSpPr>
        <p:sp>
          <p:nvSpPr>
            <p:cNvPr id="38" name="TextBox 174">
              <a:extLst>
                <a:ext uri="{FF2B5EF4-FFF2-40B4-BE49-F238E27FC236}">
                  <a16:creationId xmlns:a16="http://schemas.microsoft.com/office/drawing/2014/main" id="{1A14EA43-2A41-A6F1-F1D3-0CDF133528E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70724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질문 및 응답</a:t>
              </a:r>
              <a:endPara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  <p:sp>
          <p:nvSpPr>
            <p:cNvPr id="39" name="모서리가 둥근 직사각형 84">
              <a:extLst>
                <a:ext uri="{FF2B5EF4-FFF2-40B4-BE49-F238E27FC236}">
                  <a16:creationId xmlns:a16="http://schemas.microsoft.com/office/drawing/2014/main" id="{B32992A3-4BB1-81DF-E06E-5B1E90ED3C26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2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40" name="TextBox 174">
            <a:extLst>
              <a:ext uri="{FF2B5EF4-FFF2-40B4-BE49-F238E27FC236}">
                <a16:creationId xmlns:a16="http://schemas.microsoft.com/office/drawing/2014/main" id="{0AF80EE6-F9E1-E5B2-6BAF-442C4FCCE3A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66814" y="2352362"/>
            <a:ext cx="2573667" cy="1292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  <a:buClr>
                <a:srgbClr val="D0A660"/>
              </a:buClr>
              <a:buSzPct val="100000"/>
              <a:defRPr/>
            </a:pPr>
            <a:r>
              <a:rPr lang="en-US" altLang="ko-Kore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[</a:t>
            </a: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응답 </a:t>
            </a:r>
            <a:r>
              <a:rPr lang="en-US" altLang="ko-Kore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]</a:t>
            </a: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매우 만족함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만족하는 편임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보통</a:t>
            </a:r>
            <a:r>
              <a:rPr lang="en-US" altLang="ko-Kore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/</a:t>
            </a: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반반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불만족하는 편임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전혀 불만족함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grpSp>
        <p:nvGrpSpPr>
          <p:cNvPr id="41" name="그룹 40">
            <a:extLst>
              <a:ext uri="{FF2B5EF4-FFF2-40B4-BE49-F238E27FC236}">
                <a16:creationId xmlns:a16="http://schemas.microsoft.com/office/drawing/2014/main" id="{1438CD89-1CDA-FFCA-A69A-24E711D192D1}"/>
              </a:ext>
            </a:extLst>
          </p:cNvPr>
          <p:cNvGrpSpPr/>
          <p:nvPr/>
        </p:nvGrpSpPr>
        <p:grpSpPr>
          <a:xfrm>
            <a:off x="9309401" y="4614943"/>
            <a:ext cx="764541" cy="230832"/>
            <a:chOff x="7316687" y="3282664"/>
            <a:chExt cx="764541" cy="230832"/>
          </a:xfrm>
        </p:grpSpPr>
        <p:sp>
          <p:nvSpPr>
            <p:cNvPr id="42" name="TextBox 174">
              <a:extLst>
                <a:ext uri="{FF2B5EF4-FFF2-40B4-BE49-F238E27FC236}">
                  <a16:creationId xmlns:a16="http://schemas.microsoft.com/office/drawing/2014/main" id="{488A9FF1-2E6C-BFA4-D75A-48121A1C5AC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590226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다음 버튼</a:t>
              </a:r>
              <a:endPara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  <p:sp>
          <p:nvSpPr>
            <p:cNvPr id="43" name="모서리가 둥근 직사각형 84">
              <a:extLst>
                <a:ext uri="{FF2B5EF4-FFF2-40B4-BE49-F238E27FC236}">
                  <a16:creationId xmlns:a16="http://schemas.microsoft.com/office/drawing/2014/main" id="{00346900-D052-DB5D-B8C5-D3205B932741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5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44" name="TextBox 174">
            <a:extLst>
              <a:ext uri="{FF2B5EF4-FFF2-40B4-BE49-F238E27FC236}">
                <a16:creationId xmlns:a16="http://schemas.microsoft.com/office/drawing/2014/main" id="{6A2B5812-4FE3-A4DF-E765-1FC10787BC1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76380" y="4854352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클릭 시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,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다음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문항으로 이동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grpSp>
        <p:nvGrpSpPr>
          <p:cNvPr id="49" name="그룹 48">
            <a:extLst>
              <a:ext uri="{FF2B5EF4-FFF2-40B4-BE49-F238E27FC236}">
                <a16:creationId xmlns:a16="http://schemas.microsoft.com/office/drawing/2014/main" id="{5D05B60F-DEA5-0133-B157-51C4BE27160B}"/>
              </a:ext>
            </a:extLst>
          </p:cNvPr>
          <p:cNvGrpSpPr/>
          <p:nvPr/>
        </p:nvGrpSpPr>
        <p:grpSpPr>
          <a:xfrm>
            <a:off x="9299069" y="3465623"/>
            <a:ext cx="1073920" cy="230832"/>
            <a:chOff x="7316687" y="3282664"/>
            <a:chExt cx="1073920" cy="230832"/>
          </a:xfrm>
        </p:grpSpPr>
        <p:sp>
          <p:nvSpPr>
            <p:cNvPr id="50" name="TextBox 174">
              <a:extLst>
                <a:ext uri="{FF2B5EF4-FFF2-40B4-BE49-F238E27FC236}">
                  <a16:creationId xmlns:a16="http://schemas.microsoft.com/office/drawing/2014/main" id="{7F396212-9874-ACB0-B822-AC7C4722D40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89960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선택 초기화 버튼</a:t>
              </a:r>
              <a:endPara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  <p:sp>
          <p:nvSpPr>
            <p:cNvPr id="51" name="모서리가 둥근 직사각형 84">
              <a:extLst>
                <a:ext uri="{FF2B5EF4-FFF2-40B4-BE49-F238E27FC236}">
                  <a16:creationId xmlns:a16="http://schemas.microsoft.com/office/drawing/2014/main" id="{8E2BEA1B-8E38-C400-C339-A1575340DD25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3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52" name="TextBox 174">
            <a:extLst>
              <a:ext uri="{FF2B5EF4-FFF2-40B4-BE49-F238E27FC236}">
                <a16:creationId xmlns:a16="http://schemas.microsoft.com/office/drawing/2014/main" id="{357C6A20-AE60-9319-8555-AE278ECBA64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66048" y="3705032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클릭 시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,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해당 문항의 응답 초기화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sp>
        <p:nvSpPr>
          <p:cNvPr id="54" name="모서리가 둥근 직사각형 84">
            <a:extLst>
              <a:ext uri="{FF2B5EF4-FFF2-40B4-BE49-F238E27FC236}">
                <a16:creationId xmlns:a16="http://schemas.microsoft.com/office/drawing/2014/main" id="{2E194793-8409-4253-9858-EC9261FA24D8}"/>
              </a:ext>
            </a:extLst>
          </p:cNvPr>
          <p:cNvSpPr/>
          <p:nvPr/>
        </p:nvSpPr>
        <p:spPr>
          <a:xfrm>
            <a:off x="1588887" y="4297315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5</a:t>
            </a:r>
            <a:endParaRPr lang="ko-KR" altLang="en-US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5553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그림 45" descr="텍스트, 번호, 폰트, 스크린샷이(가) 표시된 사진&#10;&#10;자동 생성된 설명">
            <a:extLst>
              <a:ext uri="{FF2B5EF4-FFF2-40B4-BE49-F238E27FC236}">
                <a16:creationId xmlns:a16="http://schemas.microsoft.com/office/drawing/2014/main" id="{78261DAD-73C3-D365-A5EF-BB4D59F7F8D2}"/>
              </a:ext>
            </a:extLst>
          </p:cNvPr>
          <p:cNvPicPr>
            <a:picLocks/>
          </p:cNvPicPr>
          <p:nvPr/>
        </p:nvPicPr>
        <p:blipFill rotWithShape="1">
          <a:blip r:embed="rId3"/>
          <a:srcRect b="6260"/>
          <a:stretch/>
        </p:blipFill>
        <p:spPr>
          <a:xfrm>
            <a:off x="2880000" y="2062800"/>
            <a:ext cx="2052000" cy="4031999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49" name="그림 48" descr="텍스트, 폰트, 스크린샷이(가) 표시된 사진&#10;&#10;자동 생성된 설명">
            <a:extLst>
              <a:ext uri="{FF2B5EF4-FFF2-40B4-BE49-F238E27FC236}">
                <a16:creationId xmlns:a16="http://schemas.microsoft.com/office/drawing/2014/main" id="{AC803D83-6206-791C-6D79-0E0820D99DCA}"/>
              </a:ext>
            </a:extLst>
          </p:cNvPr>
          <p:cNvPicPr>
            <a:picLocks/>
          </p:cNvPicPr>
          <p:nvPr/>
        </p:nvPicPr>
        <p:blipFill rotWithShape="1">
          <a:blip r:embed="rId4"/>
          <a:srcRect b="6260"/>
          <a:stretch/>
        </p:blipFill>
        <p:spPr>
          <a:xfrm>
            <a:off x="597600" y="2062800"/>
            <a:ext cx="2052000" cy="4031999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2" name="제목 1">
            <a:extLst>
              <a:ext uri="{FF2B5EF4-FFF2-40B4-BE49-F238E27FC236}">
                <a16:creationId xmlns:a16="http://schemas.microsoft.com/office/drawing/2014/main" id="{0C5286BA-92CE-41FB-BB05-BE0F5BBA1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맞춤배달</a:t>
            </a:r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B73B35C2-EB8A-4573-B037-7CC6DF06F86A}"/>
              </a:ext>
            </a:extLst>
          </p:cNvPr>
          <p:cNvGrpSpPr/>
          <p:nvPr/>
        </p:nvGrpSpPr>
        <p:grpSpPr>
          <a:xfrm>
            <a:off x="0" y="-3562"/>
            <a:ext cx="9226508" cy="6816938"/>
            <a:chOff x="-1952021" y="-3562"/>
            <a:chExt cx="9226508" cy="6816938"/>
          </a:xfrm>
        </p:grpSpPr>
        <p:cxnSp>
          <p:nvCxnSpPr>
            <p:cNvPr id="6" name="직선 연결선 5">
              <a:extLst>
                <a:ext uri="{FF2B5EF4-FFF2-40B4-BE49-F238E27FC236}">
                  <a16:creationId xmlns:a16="http://schemas.microsoft.com/office/drawing/2014/main" id="{B4C45666-B8F5-4C50-86A6-C4C0BE1D6FE0}"/>
                </a:ext>
              </a:extLst>
            </p:cNvPr>
            <p:cNvCxnSpPr>
              <a:cxnSpLocks/>
            </p:cNvCxnSpPr>
            <p:nvPr/>
          </p:nvCxnSpPr>
          <p:spPr>
            <a:xfrm>
              <a:off x="7257256" y="-3562"/>
              <a:ext cx="0" cy="6816938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직선 연결선 6">
              <a:extLst>
                <a:ext uri="{FF2B5EF4-FFF2-40B4-BE49-F238E27FC236}">
                  <a16:creationId xmlns:a16="http://schemas.microsoft.com/office/drawing/2014/main" id="{4860EB04-C536-404F-98C0-823E8ADC86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1952021" y="1563825"/>
              <a:ext cx="9226508" cy="0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0B76F625-D0A3-4C9E-8D76-BC231976DDDC}"/>
              </a:ext>
            </a:extLst>
          </p:cNvPr>
          <p:cNvGrpSpPr/>
          <p:nvPr/>
        </p:nvGrpSpPr>
        <p:grpSpPr>
          <a:xfrm>
            <a:off x="479376" y="908720"/>
            <a:ext cx="6759312" cy="338554"/>
            <a:chOff x="479376" y="-963488"/>
            <a:chExt cx="6759312" cy="338554"/>
          </a:xfrm>
        </p:grpSpPr>
        <p:sp>
          <p:nvSpPr>
            <p:cNvPr id="9" name="사각형: 둥근 모서리 8">
              <a:extLst>
                <a:ext uri="{FF2B5EF4-FFF2-40B4-BE49-F238E27FC236}">
                  <a16:creationId xmlns:a16="http://schemas.microsoft.com/office/drawing/2014/main" id="{F66EE92C-BEAA-4A28-9FFE-528E99678B1D}"/>
                </a:ext>
              </a:extLst>
            </p:cNvPr>
            <p:cNvSpPr/>
            <p:nvPr/>
          </p:nvSpPr>
          <p:spPr>
            <a:xfrm>
              <a:off x="479376" y="-946863"/>
              <a:ext cx="590358" cy="305304"/>
            </a:xfrm>
            <a:prstGeom prst="roundRect">
              <a:avLst>
                <a:gd name="adj" fmla="val 50000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>
                      <a:alpha val="50000"/>
                    </a:schemeClr>
                  </a:solidFill>
                  <a:latin typeface="+mn-ea"/>
                  <a:cs typeface="Arial" panose="020B0604020202020204" pitchFamily="34" charset="0"/>
                </a:rPr>
                <a:t>0</a:t>
              </a:r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C8869CF-0725-41FD-AE4C-2AF26212AA85}"/>
                </a:ext>
              </a:extLst>
            </p:cNvPr>
            <p:cNvSpPr txBox="1"/>
            <p:nvPr/>
          </p:nvSpPr>
          <p:spPr>
            <a:xfrm>
              <a:off x="1127448" y="-963488"/>
              <a:ext cx="6111240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R="0" indent="0" algn="just" fontAlgn="base" latinLnBrk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 sz="1600" kern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defRPr>
              </a:lvl1pPr>
            </a:lstStyle>
            <a:p>
              <a:r>
                <a:rPr lang="ko-KR" altLang="en-US"/>
                <a:t>맞춤배달 </a:t>
              </a:r>
              <a:r>
                <a:rPr lang="en-US" altLang="ko-KR" dirty="0"/>
                <a:t>– </a:t>
              </a:r>
              <a:r>
                <a:rPr lang="ko-KR" altLang="en-US"/>
                <a:t>맞춤배달 캘린더</a:t>
              </a:r>
              <a:endParaRPr lang="en-US" altLang="ko-KR" dirty="0"/>
            </a:p>
          </p:txBody>
        </p:sp>
      </p:grpSp>
      <p:sp>
        <p:nvSpPr>
          <p:cNvPr id="3" name="모서리가 둥근 직사각형 84">
            <a:extLst>
              <a:ext uri="{FF2B5EF4-FFF2-40B4-BE49-F238E27FC236}">
                <a16:creationId xmlns:a16="http://schemas.microsoft.com/office/drawing/2014/main" id="{C8D35609-AD3D-E4E8-DD10-D5CC15E69BCB}"/>
              </a:ext>
            </a:extLst>
          </p:cNvPr>
          <p:cNvSpPr/>
          <p:nvPr/>
        </p:nvSpPr>
        <p:spPr>
          <a:xfrm>
            <a:off x="430721" y="2576816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1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4" name="모서리가 둥근 직사각형 84">
            <a:extLst>
              <a:ext uri="{FF2B5EF4-FFF2-40B4-BE49-F238E27FC236}">
                <a16:creationId xmlns:a16="http://schemas.microsoft.com/office/drawing/2014/main" id="{720A41D2-3D52-728D-26C1-C0AB0A49761F}"/>
              </a:ext>
            </a:extLst>
          </p:cNvPr>
          <p:cNvSpPr/>
          <p:nvPr/>
        </p:nvSpPr>
        <p:spPr>
          <a:xfrm>
            <a:off x="2063552" y="2923252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3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11" name="모서리가 둥근 직사각형 84">
            <a:extLst>
              <a:ext uri="{FF2B5EF4-FFF2-40B4-BE49-F238E27FC236}">
                <a16:creationId xmlns:a16="http://schemas.microsoft.com/office/drawing/2014/main" id="{5F933C16-2279-2595-D9D1-1DFF5BC2C576}"/>
              </a:ext>
            </a:extLst>
          </p:cNvPr>
          <p:cNvSpPr/>
          <p:nvPr/>
        </p:nvSpPr>
        <p:spPr>
          <a:xfrm>
            <a:off x="577750" y="3336479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2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12" name="모서리가 둥근 직사각형 84">
            <a:extLst>
              <a:ext uri="{FF2B5EF4-FFF2-40B4-BE49-F238E27FC236}">
                <a16:creationId xmlns:a16="http://schemas.microsoft.com/office/drawing/2014/main" id="{89CF4DC0-6F91-CF29-7891-7EBED902FA0A}"/>
              </a:ext>
            </a:extLst>
          </p:cNvPr>
          <p:cNvSpPr/>
          <p:nvPr/>
        </p:nvSpPr>
        <p:spPr>
          <a:xfrm>
            <a:off x="2851922" y="2923251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4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grpSp>
        <p:nvGrpSpPr>
          <p:cNvPr id="14" name="그룹 13">
            <a:extLst>
              <a:ext uri="{FF2B5EF4-FFF2-40B4-BE49-F238E27FC236}">
                <a16:creationId xmlns:a16="http://schemas.microsoft.com/office/drawing/2014/main" id="{38097E05-CED8-5C87-CF72-5A068D79D66D}"/>
              </a:ext>
            </a:extLst>
          </p:cNvPr>
          <p:cNvGrpSpPr/>
          <p:nvPr/>
        </p:nvGrpSpPr>
        <p:grpSpPr>
          <a:xfrm>
            <a:off x="9340078" y="3521520"/>
            <a:ext cx="1181322" cy="230832"/>
            <a:chOff x="7316687" y="3282664"/>
            <a:chExt cx="1181322" cy="230832"/>
          </a:xfrm>
        </p:grpSpPr>
        <p:sp>
          <p:nvSpPr>
            <p:cNvPr id="15" name="TextBox 174">
              <a:extLst>
                <a:ext uri="{FF2B5EF4-FFF2-40B4-BE49-F238E27FC236}">
                  <a16:creationId xmlns:a16="http://schemas.microsoft.com/office/drawing/2014/main" id="{A10AFF8E-7249-1B46-0A00-12C65E0F072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1007007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진행중인 </a:t>
              </a: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회수</a:t>
              </a:r>
              <a:r>
                <a:rPr lang="en-US" altLang="ko-KR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/</a:t>
              </a: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배달</a:t>
              </a:r>
              <a:endPara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  <p:sp>
          <p:nvSpPr>
            <p:cNvPr id="16" name="모서리가 둥근 직사각형 84">
              <a:extLst>
                <a:ext uri="{FF2B5EF4-FFF2-40B4-BE49-F238E27FC236}">
                  <a16:creationId xmlns:a16="http://schemas.microsoft.com/office/drawing/2014/main" id="{63661CCE-AD21-85D4-4005-BE49488D7A7A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4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17" name="TextBox 174">
            <a:extLst>
              <a:ext uri="{FF2B5EF4-FFF2-40B4-BE49-F238E27FC236}">
                <a16:creationId xmlns:a16="http://schemas.microsoft.com/office/drawing/2014/main" id="{FBB393A5-CF38-D966-F306-41A7D497C9C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88573" y="3779497"/>
            <a:ext cx="2573667" cy="12157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b="1" spc="-150" dirty="0" err="1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장비명</a:t>
            </a:r>
            <a:endParaRPr lang="en-US" altLang="ko-KR" sz="900" b="1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회수</a:t>
            </a:r>
            <a:r>
              <a:rPr lang="en-US" altLang="ko-KR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/</a:t>
            </a:r>
            <a:r>
              <a: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배달</a:t>
            </a:r>
            <a:r>
              <a:rPr lang="ko-Kore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일자 또는 회수</a:t>
            </a:r>
            <a:r>
              <a:rPr lang="en-US" altLang="ko-Kore-KR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/</a:t>
            </a:r>
            <a:r>
              <a:rPr lang="ko-Kore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배달 가능 일정</a:t>
            </a:r>
            <a:endParaRPr lang="en-US" altLang="ko-Kore-KR" sz="900" b="1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방문자</a:t>
            </a:r>
            <a:endParaRPr lang="en-US" altLang="ko-KR" sz="900" b="1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방문주소</a:t>
            </a:r>
            <a:endParaRPr lang="en-US" altLang="ko-KR" sz="900" b="1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배달</a:t>
            </a:r>
            <a:r>
              <a: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상태</a:t>
            </a:r>
            <a:br>
              <a:rPr lang="en-US" altLang="ko-KR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</a:br>
            <a:r>
              <a:rPr lang="en-US" altLang="ko-KR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-</a:t>
            </a:r>
            <a:r>
              <a: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대기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: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배달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/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회수 일자 선택 전</a:t>
            </a:r>
            <a:b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</a:b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-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배달 중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/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회수 중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: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배달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/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회수 일자 선택 완료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grpSp>
        <p:nvGrpSpPr>
          <p:cNvPr id="18" name="그룹 17">
            <a:extLst>
              <a:ext uri="{FF2B5EF4-FFF2-40B4-BE49-F238E27FC236}">
                <a16:creationId xmlns:a16="http://schemas.microsoft.com/office/drawing/2014/main" id="{A656826F-7EDB-2760-12B6-8E3499CC604E}"/>
              </a:ext>
            </a:extLst>
          </p:cNvPr>
          <p:cNvGrpSpPr/>
          <p:nvPr/>
        </p:nvGrpSpPr>
        <p:grpSpPr>
          <a:xfrm>
            <a:off x="9320207" y="2887911"/>
            <a:ext cx="1266281" cy="230832"/>
            <a:chOff x="7316687" y="3282664"/>
            <a:chExt cx="1266281" cy="230832"/>
          </a:xfrm>
        </p:grpSpPr>
        <p:sp>
          <p:nvSpPr>
            <p:cNvPr id="19" name="TextBox 174">
              <a:extLst>
                <a:ext uri="{FF2B5EF4-FFF2-40B4-BE49-F238E27FC236}">
                  <a16:creationId xmlns:a16="http://schemas.microsoft.com/office/drawing/2014/main" id="{48C6E529-A454-C692-5222-61D0DB0D407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1091966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 err="1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새로고침</a:t>
              </a: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 아이콘 버튼</a:t>
              </a:r>
            </a:p>
          </p:txBody>
        </p:sp>
        <p:sp>
          <p:nvSpPr>
            <p:cNvPr id="20" name="모서리가 둥근 직사각형 84">
              <a:extLst>
                <a:ext uri="{FF2B5EF4-FFF2-40B4-BE49-F238E27FC236}">
                  <a16:creationId xmlns:a16="http://schemas.microsoft.com/office/drawing/2014/main" id="{CFA8F082-0C29-4548-F14E-4E4408C6A282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3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1" name="TextBox 174">
            <a:extLst>
              <a:ext uri="{FF2B5EF4-FFF2-40B4-BE49-F238E27FC236}">
                <a16:creationId xmlns:a16="http://schemas.microsoft.com/office/drawing/2014/main" id="{13B79A93-9A3B-72B6-42A3-FF543C05C54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80979" y="3108198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클릭 시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회수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/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배달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일정 </a:t>
            </a:r>
            <a:r>
              <a:rPr lang="ko-KR" altLang="en-US" sz="900" spc="-150" dirty="0" err="1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새로고침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grpSp>
        <p:nvGrpSpPr>
          <p:cNvPr id="22" name="그룹 21">
            <a:extLst>
              <a:ext uri="{FF2B5EF4-FFF2-40B4-BE49-F238E27FC236}">
                <a16:creationId xmlns:a16="http://schemas.microsoft.com/office/drawing/2014/main" id="{46A4B498-AFAD-77AB-FA99-D36F4F33AD49}"/>
              </a:ext>
            </a:extLst>
          </p:cNvPr>
          <p:cNvGrpSpPr/>
          <p:nvPr/>
        </p:nvGrpSpPr>
        <p:grpSpPr>
          <a:xfrm>
            <a:off x="9326181" y="1485783"/>
            <a:ext cx="892781" cy="230832"/>
            <a:chOff x="7316687" y="3282664"/>
            <a:chExt cx="892781" cy="230832"/>
          </a:xfrm>
        </p:grpSpPr>
        <p:sp>
          <p:nvSpPr>
            <p:cNvPr id="23" name="TextBox 174">
              <a:extLst>
                <a:ext uri="{FF2B5EF4-FFF2-40B4-BE49-F238E27FC236}">
                  <a16:creationId xmlns:a16="http://schemas.microsoft.com/office/drawing/2014/main" id="{52D7C0D8-FC68-E67D-FA61-B5AABDBCA5F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718466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배달</a:t>
              </a:r>
              <a:r>
                <a:rPr lang="en-US" altLang="ko-KR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/</a:t>
              </a: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회수 탭</a:t>
              </a:r>
              <a:endPara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  <p:sp>
          <p:nvSpPr>
            <p:cNvPr id="24" name="모서리가 둥근 직사각형 84">
              <a:extLst>
                <a:ext uri="{FF2B5EF4-FFF2-40B4-BE49-F238E27FC236}">
                  <a16:creationId xmlns:a16="http://schemas.microsoft.com/office/drawing/2014/main" id="{445A7012-6DCA-9233-C103-BFD32CC0E0DC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1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5" name="TextBox 174">
            <a:extLst>
              <a:ext uri="{FF2B5EF4-FFF2-40B4-BE49-F238E27FC236}">
                <a16:creationId xmlns:a16="http://schemas.microsoft.com/office/drawing/2014/main" id="{B7AE0034-8377-29DF-DA18-E5BBA65AF82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86953" y="1706070"/>
            <a:ext cx="2573667" cy="4078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진행 중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완료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grpSp>
        <p:nvGrpSpPr>
          <p:cNvPr id="26" name="그룹 25">
            <a:extLst>
              <a:ext uri="{FF2B5EF4-FFF2-40B4-BE49-F238E27FC236}">
                <a16:creationId xmlns:a16="http://schemas.microsoft.com/office/drawing/2014/main" id="{B3B705E5-3012-55BA-8F72-437687C68B3C}"/>
              </a:ext>
            </a:extLst>
          </p:cNvPr>
          <p:cNvGrpSpPr/>
          <p:nvPr/>
        </p:nvGrpSpPr>
        <p:grpSpPr>
          <a:xfrm>
            <a:off x="9330913" y="2098746"/>
            <a:ext cx="1170100" cy="230832"/>
            <a:chOff x="7316687" y="3282664"/>
            <a:chExt cx="1170100" cy="230832"/>
          </a:xfrm>
        </p:grpSpPr>
        <p:sp>
          <p:nvSpPr>
            <p:cNvPr id="27" name="TextBox 174">
              <a:extLst>
                <a:ext uri="{FF2B5EF4-FFF2-40B4-BE49-F238E27FC236}">
                  <a16:creationId xmlns:a16="http://schemas.microsoft.com/office/drawing/2014/main" id="{4BB4B217-8503-D693-28E8-57A4C6F9ED3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99578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맞춤배달</a:t>
              </a: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 요청 버튼</a:t>
              </a:r>
            </a:p>
          </p:txBody>
        </p:sp>
        <p:sp>
          <p:nvSpPr>
            <p:cNvPr id="28" name="모서리가 둥근 직사각형 84">
              <a:extLst>
                <a:ext uri="{FF2B5EF4-FFF2-40B4-BE49-F238E27FC236}">
                  <a16:creationId xmlns:a16="http://schemas.microsoft.com/office/drawing/2014/main" id="{4D61E2D6-8468-2979-6386-6B6688754735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2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9" name="TextBox 174">
            <a:extLst>
              <a:ext uri="{FF2B5EF4-FFF2-40B4-BE49-F238E27FC236}">
                <a16:creationId xmlns:a16="http://schemas.microsoft.com/office/drawing/2014/main" id="{9C08E28D-49A5-FE23-B18F-3B2B9C64AA9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91685" y="2319033"/>
            <a:ext cx="2573667" cy="4078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진행 중인 맞춤배달이 없다면</a:t>
            </a:r>
            <a:r>
              <a:rPr lang="en-US" altLang="ko-Kore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, </a:t>
            </a: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맞춤배달</a:t>
            </a: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요청 버튼 표출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클릭 시</a:t>
            </a:r>
            <a:r>
              <a:rPr lang="en-US" altLang="ko-Kore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[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맞춤배달 요청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]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화면으로 이동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863732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C5286BA-92CE-41FB-BB05-BE0F5BBA1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맞춤배달</a:t>
            </a:r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B73B35C2-EB8A-4573-B037-7CC6DF06F86A}"/>
              </a:ext>
            </a:extLst>
          </p:cNvPr>
          <p:cNvGrpSpPr/>
          <p:nvPr/>
        </p:nvGrpSpPr>
        <p:grpSpPr>
          <a:xfrm>
            <a:off x="0" y="-3562"/>
            <a:ext cx="9226508" cy="6816938"/>
            <a:chOff x="-1952021" y="-3562"/>
            <a:chExt cx="9226508" cy="6816938"/>
          </a:xfrm>
        </p:grpSpPr>
        <p:cxnSp>
          <p:nvCxnSpPr>
            <p:cNvPr id="6" name="직선 연결선 5">
              <a:extLst>
                <a:ext uri="{FF2B5EF4-FFF2-40B4-BE49-F238E27FC236}">
                  <a16:creationId xmlns:a16="http://schemas.microsoft.com/office/drawing/2014/main" id="{B4C45666-B8F5-4C50-86A6-C4C0BE1D6FE0}"/>
                </a:ext>
              </a:extLst>
            </p:cNvPr>
            <p:cNvCxnSpPr>
              <a:cxnSpLocks/>
            </p:cNvCxnSpPr>
            <p:nvPr/>
          </p:nvCxnSpPr>
          <p:spPr>
            <a:xfrm>
              <a:off x="7257256" y="-3562"/>
              <a:ext cx="0" cy="6816938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직선 연결선 6">
              <a:extLst>
                <a:ext uri="{FF2B5EF4-FFF2-40B4-BE49-F238E27FC236}">
                  <a16:creationId xmlns:a16="http://schemas.microsoft.com/office/drawing/2014/main" id="{4860EB04-C536-404F-98C0-823E8ADC86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1952021" y="1563825"/>
              <a:ext cx="9226508" cy="0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0B76F625-D0A3-4C9E-8D76-BC231976DDDC}"/>
              </a:ext>
            </a:extLst>
          </p:cNvPr>
          <p:cNvGrpSpPr/>
          <p:nvPr/>
        </p:nvGrpSpPr>
        <p:grpSpPr>
          <a:xfrm>
            <a:off x="479376" y="908720"/>
            <a:ext cx="6759312" cy="338554"/>
            <a:chOff x="479376" y="-963488"/>
            <a:chExt cx="6759312" cy="338554"/>
          </a:xfrm>
        </p:grpSpPr>
        <p:sp>
          <p:nvSpPr>
            <p:cNvPr id="9" name="사각형: 둥근 모서리 8">
              <a:extLst>
                <a:ext uri="{FF2B5EF4-FFF2-40B4-BE49-F238E27FC236}">
                  <a16:creationId xmlns:a16="http://schemas.microsoft.com/office/drawing/2014/main" id="{F66EE92C-BEAA-4A28-9FFE-528E99678B1D}"/>
                </a:ext>
              </a:extLst>
            </p:cNvPr>
            <p:cNvSpPr/>
            <p:nvPr/>
          </p:nvSpPr>
          <p:spPr>
            <a:xfrm>
              <a:off x="479376" y="-946863"/>
              <a:ext cx="590358" cy="305304"/>
            </a:xfrm>
            <a:prstGeom prst="roundRect">
              <a:avLst>
                <a:gd name="adj" fmla="val 50000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>
                      <a:alpha val="50000"/>
                    </a:schemeClr>
                  </a:solidFill>
                  <a:latin typeface="+mn-ea"/>
                  <a:cs typeface="Arial" panose="020B0604020202020204" pitchFamily="34" charset="0"/>
                </a:rPr>
                <a:t>0</a:t>
              </a:r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C8869CF-0725-41FD-AE4C-2AF26212AA85}"/>
                </a:ext>
              </a:extLst>
            </p:cNvPr>
            <p:cNvSpPr txBox="1"/>
            <p:nvPr/>
          </p:nvSpPr>
          <p:spPr>
            <a:xfrm>
              <a:off x="1127448" y="-963488"/>
              <a:ext cx="6111240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R="0" indent="0" algn="just" fontAlgn="base" latinLnBrk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 sz="1600" kern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defRPr>
              </a:lvl1pPr>
            </a:lstStyle>
            <a:p>
              <a:r>
                <a:rPr lang="ko-KR" altLang="en-US"/>
                <a:t>맞춤배달 </a:t>
              </a:r>
              <a:r>
                <a:rPr lang="en-US" altLang="ko-KR" dirty="0"/>
                <a:t>– </a:t>
              </a:r>
              <a:r>
                <a:rPr lang="ko-KR" altLang="en-US"/>
                <a:t>맞춤배달 요청</a:t>
              </a:r>
              <a:endParaRPr lang="en-US" altLang="ko-KR" dirty="0"/>
            </a:p>
          </p:txBody>
        </p:sp>
      </p:grpSp>
      <p:pic>
        <p:nvPicPr>
          <p:cNvPr id="13" name="그림 12" descr="텍스트, 스크린샷, 소프트웨어, 웹 페이지이(가) 표시된 사진&#10;&#10;자동 생성된 설명">
            <a:extLst>
              <a:ext uri="{FF2B5EF4-FFF2-40B4-BE49-F238E27FC236}">
                <a16:creationId xmlns:a16="http://schemas.microsoft.com/office/drawing/2014/main" id="{A396087F-41B4-4B23-95F7-F018A3A29E74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597600" y="2052000"/>
            <a:ext cx="2052000" cy="4294800"/>
          </a:xfrm>
          <a:prstGeom prst="rect">
            <a:avLst/>
          </a:prstGeom>
        </p:spPr>
      </p:pic>
      <p:pic>
        <p:nvPicPr>
          <p:cNvPr id="15" name="그림 14" descr="텍스트, 스크린샷, 소프트웨어이(가) 표시된 사진&#10;&#10;자동 생성된 설명">
            <a:extLst>
              <a:ext uri="{FF2B5EF4-FFF2-40B4-BE49-F238E27FC236}">
                <a16:creationId xmlns:a16="http://schemas.microsoft.com/office/drawing/2014/main" id="{00094F4F-EF8D-D783-6864-6FBAA2B8EFE6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2880000" y="2062800"/>
            <a:ext cx="2052000" cy="4294800"/>
          </a:xfrm>
          <a:prstGeom prst="rect">
            <a:avLst/>
          </a:prstGeom>
        </p:spPr>
      </p:pic>
      <p:grpSp>
        <p:nvGrpSpPr>
          <p:cNvPr id="3" name="그룹 2">
            <a:extLst>
              <a:ext uri="{FF2B5EF4-FFF2-40B4-BE49-F238E27FC236}">
                <a16:creationId xmlns:a16="http://schemas.microsoft.com/office/drawing/2014/main" id="{2DC86A3E-42C6-A0A3-E0A7-8685EB888759}"/>
              </a:ext>
            </a:extLst>
          </p:cNvPr>
          <p:cNvGrpSpPr/>
          <p:nvPr/>
        </p:nvGrpSpPr>
        <p:grpSpPr>
          <a:xfrm>
            <a:off x="9312000" y="4581128"/>
            <a:ext cx="956902" cy="230832"/>
            <a:chOff x="7316687" y="3282664"/>
            <a:chExt cx="956902" cy="230832"/>
          </a:xfrm>
        </p:grpSpPr>
        <p:sp>
          <p:nvSpPr>
            <p:cNvPr id="4" name="TextBox 174">
              <a:extLst>
                <a:ext uri="{FF2B5EF4-FFF2-40B4-BE49-F238E27FC236}">
                  <a16:creationId xmlns:a16="http://schemas.microsoft.com/office/drawing/2014/main" id="{7E09DF3B-2782-FC57-8063-030AE19FA45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782587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요청하기 버튼</a:t>
              </a:r>
              <a:endPara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  <p:sp>
          <p:nvSpPr>
            <p:cNvPr id="12" name="모서리가 둥근 직사각형 84">
              <a:extLst>
                <a:ext uri="{FF2B5EF4-FFF2-40B4-BE49-F238E27FC236}">
                  <a16:creationId xmlns:a16="http://schemas.microsoft.com/office/drawing/2014/main" id="{A8868030-2B58-02EE-C5F1-7B0B124A7C06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6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14" name="TextBox 174">
            <a:extLst>
              <a:ext uri="{FF2B5EF4-FFF2-40B4-BE49-F238E27FC236}">
                <a16:creationId xmlns:a16="http://schemas.microsoft.com/office/drawing/2014/main" id="{B76547F4-56A9-8217-8B9C-D84FD29E6EB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60495" y="4839105"/>
            <a:ext cx="257366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클릭 시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선택한 선택한 정보를 바탕으로 맞춤배달 요청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grpSp>
        <p:nvGrpSpPr>
          <p:cNvPr id="16" name="그룹 15">
            <a:extLst>
              <a:ext uri="{FF2B5EF4-FFF2-40B4-BE49-F238E27FC236}">
                <a16:creationId xmlns:a16="http://schemas.microsoft.com/office/drawing/2014/main" id="{1B044785-1561-1E3F-B386-ADD5D0D72982}"/>
              </a:ext>
            </a:extLst>
          </p:cNvPr>
          <p:cNvGrpSpPr/>
          <p:nvPr/>
        </p:nvGrpSpPr>
        <p:grpSpPr>
          <a:xfrm>
            <a:off x="9292129" y="2983978"/>
            <a:ext cx="1073920" cy="230832"/>
            <a:chOff x="7316687" y="3282664"/>
            <a:chExt cx="1073920" cy="230832"/>
          </a:xfrm>
        </p:grpSpPr>
        <p:sp>
          <p:nvSpPr>
            <p:cNvPr id="17" name="TextBox 174">
              <a:extLst>
                <a:ext uri="{FF2B5EF4-FFF2-40B4-BE49-F238E27FC236}">
                  <a16:creationId xmlns:a16="http://schemas.microsoft.com/office/drawing/2014/main" id="{0EE335D4-9C32-FE83-E3AF-019DAA59E0B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89960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처방전 선택 시트</a:t>
              </a:r>
            </a:p>
          </p:txBody>
        </p:sp>
        <p:sp>
          <p:nvSpPr>
            <p:cNvPr id="18" name="모서리가 둥근 직사각형 84">
              <a:extLst>
                <a:ext uri="{FF2B5EF4-FFF2-40B4-BE49-F238E27FC236}">
                  <a16:creationId xmlns:a16="http://schemas.microsoft.com/office/drawing/2014/main" id="{85E8E34D-21D6-B3A3-EF68-242986461FE7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3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19" name="TextBox 174">
            <a:extLst>
              <a:ext uri="{FF2B5EF4-FFF2-40B4-BE49-F238E27FC236}">
                <a16:creationId xmlns:a16="http://schemas.microsoft.com/office/drawing/2014/main" id="{0256630A-2665-A6A1-5D26-8C60C3DF562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52901" y="3204265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복수의 처방전 선택 가능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grpSp>
        <p:nvGrpSpPr>
          <p:cNvPr id="20" name="그룹 19">
            <a:extLst>
              <a:ext uri="{FF2B5EF4-FFF2-40B4-BE49-F238E27FC236}">
                <a16:creationId xmlns:a16="http://schemas.microsoft.com/office/drawing/2014/main" id="{7CDA0ED0-3330-BB0A-945A-312BD34ADF5A}"/>
              </a:ext>
            </a:extLst>
          </p:cNvPr>
          <p:cNvGrpSpPr/>
          <p:nvPr/>
        </p:nvGrpSpPr>
        <p:grpSpPr>
          <a:xfrm>
            <a:off x="9298103" y="1647761"/>
            <a:ext cx="1073920" cy="230832"/>
            <a:chOff x="7316687" y="3282664"/>
            <a:chExt cx="1073920" cy="230832"/>
          </a:xfrm>
        </p:grpSpPr>
        <p:sp>
          <p:nvSpPr>
            <p:cNvPr id="21" name="TextBox 174">
              <a:extLst>
                <a:ext uri="{FF2B5EF4-FFF2-40B4-BE49-F238E27FC236}">
                  <a16:creationId xmlns:a16="http://schemas.microsoft.com/office/drawing/2014/main" id="{AB5C9210-D8B7-249E-FFB4-3E1EDA23511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89960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처방전 선택 목록</a:t>
              </a:r>
            </a:p>
          </p:txBody>
        </p:sp>
        <p:sp>
          <p:nvSpPr>
            <p:cNvPr id="22" name="모서리가 둥근 직사각형 84">
              <a:extLst>
                <a:ext uri="{FF2B5EF4-FFF2-40B4-BE49-F238E27FC236}">
                  <a16:creationId xmlns:a16="http://schemas.microsoft.com/office/drawing/2014/main" id="{5146F97A-6509-D336-C3C3-C23887146BD4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1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3" name="TextBox 174">
            <a:extLst>
              <a:ext uri="{FF2B5EF4-FFF2-40B4-BE49-F238E27FC236}">
                <a16:creationId xmlns:a16="http://schemas.microsoft.com/office/drawing/2014/main" id="{FC70D868-1C15-3F86-BE6C-7CE8BE0642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58875" y="1868048"/>
            <a:ext cx="2573667" cy="4078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선택된 처방전 목록 표출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스와이프 시 선택 취소 버튼 표출</a:t>
            </a:r>
            <a:r>
              <a:rPr lang="en-US" altLang="ko-Kore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클릭 시 선택 취소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grpSp>
        <p:nvGrpSpPr>
          <p:cNvPr id="24" name="그룹 23">
            <a:extLst>
              <a:ext uri="{FF2B5EF4-FFF2-40B4-BE49-F238E27FC236}">
                <a16:creationId xmlns:a16="http://schemas.microsoft.com/office/drawing/2014/main" id="{6F298F41-9654-B313-FDD3-C4788676F85E}"/>
              </a:ext>
            </a:extLst>
          </p:cNvPr>
          <p:cNvGrpSpPr/>
          <p:nvPr/>
        </p:nvGrpSpPr>
        <p:grpSpPr>
          <a:xfrm>
            <a:off x="9302835" y="2420888"/>
            <a:ext cx="764541" cy="230832"/>
            <a:chOff x="7316687" y="3282664"/>
            <a:chExt cx="764541" cy="230832"/>
          </a:xfrm>
        </p:grpSpPr>
        <p:sp>
          <p:nvSpPr>
            <p:cNvPr id="25" name="TextBox 174">
              <a:extLst>
                <a:ext uri="{FF2B5EF4-FFF2-40B4-BE49-F238E27FC236}">
                  <a16:creationId xmlns:a16="http://schemas.microsoft.com/office/drawing/2014/main" id="{0385C00A-63BD-9540-152F-EF21FEA1295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590226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선택 버튼</a:t>
              </a:r>
            </a:p>
          </p:txBody>
        </p:sp>
        <p:sp>
          <p:nvSpPr>
            <p:cNvPr id="26" name="모서리가 둥근 직사각형 84">
              <a:extLst>
                <a:ext uri="{FF2B5EF4-FFF2-40B4-BE49-F238E27FC236}">
                  <a16:creationId xmlns:a16="http://schemas.microsoft.com/office/drawing/2014/main" id="{4975DF87-15A8-4F6E-1CD1-85ED21D53B8F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2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7" name="TextBox 174">
            <a:extLst>
              <a:ext uri="{FF2B5EF4-FFF2-40B4-BE49-F238E27FC236}">
                <a16:creationId xmlns:a16="http://schemas.microsoft.com/office/drawing/2014/main" id="{CB77A5CC-EDAA-0DD9-BE02-B013395E0EC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63607" y="2641175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클릭 시 처방전 선택 시트  표출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sp>
        <p:nvSpPr>
          <p:cNvPr id="28" name="모서리가 둥근 직사각형 84">
            <a:extLst>
              <a:ext uri="{FF2B5EF4-FFF2-40B4-BE49-F238E27FC236}">
                <a16:creationId xmlns:a16="http://schemas.microsoft.com/office/drawing/2014/main" id="{E8E79CC7-F7E8-7F88-59FC-ED18746A502A}"/>
              </a:ext>
            </a:extLst>
          </p:cNvPr>
          <p:cNvSpPr/>
          <p:nvPr/>
        </p:nvSpPr>
        <p:spPr>
          <a:xfrm>
            <a:off x="485466" y="2641175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1</a:t>
            </a:r>
            <a:endParaRPr lang="ko-KR" altLang="en-US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29" name="모서리가 둥근 직사각형 84">
            <a:extLst>
              <a:ext uri="{FF2B5EF4-FFF2-40B4-BE49-F238E27FC236}">
                <a16:creationId xmlns:a16="http://schemas.microsoft.com/office/drawing/2014/main" id="{7516B430-CB01-FE84-FDD6-CA6F01E5509F}"/>
              </a:ext>
            </a:extLst>
          </p:cNvPr>
          <p:cNvSpPr/>
          <p:nvPr/>
        </p:nvSpPr>
        <p:spPr>
          <a:xfrm>
            <a:off x="1911425" y="2651720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2</a:t>
            </a:r>
            <a:endParaRPr lang="ko-KR" altLang="en-US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31" name="모서리가 둥근 직사각형 84">
            <a:extLst>
              <a:ext uri="{FF2B5EF4-FFF2-40B4-BE49-F238E27FC236}">
                <a16:creationId xmlns:a16="http://schemas.microsoft.com/office/drawing/2014/main" id="{C21F8B08-85B3-A315-AAA6-EA6EAE8776C9}"/>
              </a:ext>
            </a:extLst>
          </p:cNvPr>
          <p:cNvSpPr/>
          <p:nvPr/>
        </p:nvSpPr>
        <p:spPr>
          <a:xfrm>
            <a:off x="2754863" y="3394324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3</a:t>
            </a:r>
            <a:endParaRPr lang="ko-KR" altLang="en-US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32" name="모서리가 둥근 직사각형 84">
            <a:extLst>
              <a:ext uri="{FF2B5EF4-FFF2-40B4-BE49-F238E27FC236}">
                <a16:creationId xmlns:a16="http://schemas.microsoft.com/office/drawing/2014/main" id="{293C9AED-2DEB-B1F5-5E94-A5A12E398EB1}"/>
              </a:ext>
            </a:extLst>
          </p:cNvPr>
          <p:cNvSpPr/>
          <p:nvPr/>
        </p:nvSpPr>
        <p:spPr>
          <a:xfrm>
            <a:off x="4295800" y="3144805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4</a:t>
            </a:r>
            <a:endParaRPr lang="ko-KR" altLang="en-US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33" name="모서리가 둥근 직사각형 84">
            <a:extLst>
              <a:ext uri="{FF2B5EF4-FFF2-40B4-BE49-F238E27FC236}">
                <a16:creationId xmlns:a16="http://schemas.microsoft.com/office/drawing/2014/main" id="{1062C05D-CD06-17AE-6AFC-3F0199516D5A}"/>
              </a:ext>
            </a:extLst>
          </p:cNvPr>
          <p:cNvSpPr/>
          <p:nvPr/>
        </p:nvSpPr>
        <p:spPr>
          <a:xfrm>
            <a:off x="550179" y="5932655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6</a:t>
            </a:r>
            <a:endParaRPr lang="ko-KR" altLang="en-US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grpSp>
        <p:nvGrpSpPr>
          <p:cNvPr id="34" name="그룹 33">
            <a:extLst>
              <a:ext uri="{FF2B5EF4-FFF2-40B4-BE49-F238E27FC236}">
                <a16:creationId xmlns:a16="http://schemas.microsoft.com/office/drawing/2014/main" id="{B2897C11-6C74-971A-D51D-B1B4011BCBDC}"/>
              </a:ext>
            </a:extLst>
          </p:cNvPr>
          <p:cNvGrpSpPr/>
          <p:nvPr/>
        </p:nvGrpSpPr>
        <p:grpSpPr>
          <a:xfrm>
            <a:off x="9299069" y="3465623"/>
            <a:ext cx="1073920" cy="230832"/>
            <a:chOff x="7316687" y="3282664"/>
            <a:chExt cx="1073920" cy="230832"/>
          </a:xfrm>
        </p:grpSpPr>
        <p:sp>
          <p:nvSpPr>
            <p:cNvPr id="35" name="TextBox 174">
              <a:extLst>
                <a:ext uri="{FF2B5EF4-FFF2-40B4-BE49-F238E27FC236}">
                  <a16:creationId xmlns:a16="http://schemas.microsoft.com/office/drawing/2014/main" id="{70B6DA11-D260-CB4E-CEEE-25E767E36CB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89960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선택 초기화 버튼</a:t>
              </a:r>
              <a:endPara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  <p:sp>
          <p:nvSpPr>
            <p:cNvPr id="36" name="모서리가 둥근 직사각형 84">
              <a:extLst>
                <a:ext uri="{FF2B5EF4-FFF2-40B4-BE49-F238E27FC236}">
                  <a16:creationId xmlns:a16="http://schemas.microsoft.com/office/drawing/2014/main" id="{E71959D4-D684-0BDB-A6D6-87057268085D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4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37" name="TextBox 174">
            <a:extLst>
              <a:ext uri="{FF2B5EF4-FFF2-40B4-BE49-F238E27FC236}">
                <a16:creationId xmlns:a16="http://schemas.microsoft.com/office/drawing/2014/main" id="{91D361B4-1158-5E66-86D2-3904D9B4C51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66048" y="3705032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클릭 시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,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선택된 처방전 초기화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grpSp>
        <p:nvGrpSpPr>
          <p:cNvPr id="38" name="그룹 37">
            <a:extLst>
              <a:ext uri="{FF2B5EF4-FFF2-40B4-BE49-F238E27FC236}">
                <a16:creationId xmlns:a16="http://schemas.microsoft.com/office/drawing/2014/main" id="{3C4C4974-1463-7A44-EC09-7AC10D0E1944}"/>
              </a:ext>
            </a:extLst>
          </p:cNvPr>
          <p:cNvGrpSpPr/>
          <p:nvPr/>
        </p:nvGrpSpPr>
        <p:grpSpPr>
          <a:xfrm>
            <a:off x="9294903" y="4005064"/>
            <a:ext cx="1596499" cy="230832"/>
            <a:chOff x="7316687" y="3338030"/>
            <a:chExt cx="1596499" cy="230832"/>
          </a:xfrm>
        </p:grpSpPr>
        <p:sp>
          <p:nvSpPr>
            <p:cNvPr id="39" name="TextBox 174">
              <a:extLst>
                <a:ext uri="{FF2B5EF4-FFF2-40B4-BE49-F238E27FC236}">
                  <a16:creationId xmlns:a16="http://schemas.microsoft.com/office/drawing/2014/main" id="{4F413C1B-2438-6365-A50A-86ADDDA41F9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338030"/>
              <a:ext cx="1422184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처방전 상세 시트 표출 아이콘</a:t>
              </a:r>
              <a:endPara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  <p:sp>
          <p:nvSpPr>
            <p:cNvPr id="40" name="모서리가 둥근 직사각형 84">
              <a:extLst>
                <a:ext uri="{FF2B5EF4-FFF2-40B4-BE49-F238E27FC236}">
                  <a16:creationId xmlns:a16="http://schemas.microsoft.com/office/drawing/2014/main" id="{E00E2DC3-5CAD-B269-22FE-CA864C77E809}"/>
                </a:ext>
              </a:extLst>
            </p:cNvPr>
            <p:cNvSpPr/>
            <p:nvPr/>
          </p:nvSpPr>
          <p:spPr>
            <a:xfrm>
              <a:off x="7316687" y="3373276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5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41" name="TextBox 174">
            <a:extLst>
              <a:ext uri="{FF2B5EF4-FFF2-40B4-BE49-F238E27FC236}">
                <a16:creationId xmlns:a16="http://schemas.microsoft.com/office/drawing/2014/main" id="{3275AE75-BF4E-3085-2E44-B55B9128159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52898" y="4205081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클릭 시</a:t>
            </a:r>
            <a:r>
              <a:rPr lang="en-US" altLang="ko-Kore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해당 시트가 처방전 상세 시트로 변경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</p:txBody>
      </p:sp>
      <p:sp>
        <p:nvSpPr>
          <p:cNvPr id="42" name="모서리가 둥근 직사각형 84">
            <a:extLst>
              <a:ext uri="{FF2B5EF4-FFF2-40B4-BE49-F238E27FC236}">
                <a16:creationId xmlns:a16="http://schemas.microsoft.com/office/drawing/2014/main" id="{B40F67D0-D494-F506-B8F6-B56DC65E0737}"/>
              </a:ext>
            </a:extLst>
          </p:cNvPr>
          <p:cNvSpPr/>
          <p:nvPr/>
        </p:nvSpPr>
        <p:spPr>
          <a:xfrm>
            <a:off x="4327077" y="3612511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5</a:t>
            </a:r>
            <a:endParaRPr lang="ko-KR" altLang="en-US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0709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 descr="텍스트, 스크린샷이(가) 표시된 사진&#10;&#10;자동 생성된 설명">
            <a:extLst>
              <a:ext uri="{FF2B5EF4-FFF2-40B4-BE49-F238E27FC236}">
                <a16:creationId xmlns:a16="http://schemas.microsoft.com/office/drawing/2014/main" id="{149D36FB-32A9-8E86-183B-3E5FA2C7BA2B}"/>
              </a:ext>
            </a:extLst>
          </p:cNvPr>
          <p:cNvPicPr>
            <a:picLocks/>
          </p:cNvPicPr>
          <p:nvPr/>
        </p:nvPicPr>
        <p:blipFill rotWithShape="1">
          <a:blip r:embed="rId3"/>
          <a:srcRect b="6260"/>
          <a:stretch/>
        </p:blipFill>
        <p:spPr>
          <a:xfrm>
            <a:off x="597600" y="2062801"/>
            <a:ext cx="2052000" cy="4031999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26" name="그림 25" descr="스크린샷, 텍스트, 폰트, 번호이(가) 표시된 사진&#10;&#10;자동 생성된 설명">
            <a:extLst>
              <a:ext uri="{FF2B5EF4-FFF2-40B4-BE49-F238E27FC236}">
                <a16:creationId xmlns:a16="http://schemas.microsoft.com/office/drawing/2014/main" id="{8FFF6EB5-3839-3D52-CBC1-BA1AE50ED0B5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2880000" y="2062801"/>
            <a:ext cx="2052000" cy="4031999"/>
          </a:xfrm>
          <a:prstGeom prst="rect">
            <a:avLst/>
          </a:prstGeom>
        </p:spPr>
      </p:pic>
      <p:sp>
        <p:nvSpPr>
          <p:cNvPr id="2" name="제목 1">
            <a:extLst>
              <a:ext uri="{FF2B5EF4-FFF2-40B4-BE49-F238E27FC236}">
                <a16:creationId xmlns:a16="http://schemas.microsoft.com/office/drawing/2014/main" id="{0C5286BA-92CE-41FB-BB05-BE0F5BBA1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맞춤배달</a:t>
            </a:r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B73B35C2-EB8A-4573-B037-7CC6DF06F86A}"/>
              </a:ext>
            </a:extLst>
          </p:cNvPr>
          <p:cNvGrpSpPr/>
          <p:nvPr/>
        </p:nvGrpSpPr>
        <p:grpSpPr>
          <a:xfrm>
            <a:off x="0" y="-3562"/>
            <a:ext cx="9226508" cy="6816938"/>
            <a:chOff x="-1952021" y="-3562"/>
            <a:chExt cx="9226508" cy="6816938"/>
          </a:xfrm>
        </p:grpSpPr>
        <p:cxnSp>
          <p:nvCxnSpPr>
            <p:cNvPr id="6" name="직선 연결선 5">
              <a:extLst>
                <a:ext uri="{FF2B5EF4-FFF2-40B4-BE49-F238E27FC236}">
                  <a16:creationId xmlns:a16="http://schemas.microsoft.com/office/drawing/2014/main" id="{B4C45666-B8F5-4C50-86A6-C4C0BE1D6FE0}"/>
                </a:ext>
              </a:extLst>
            </p:cNvPr>
            <p:cNvCxnSpPr>
              <a:cxnSpLocks/>
            </p:cNvCxnSpPr>
            <p:nvPr/>
          </p:nvCxnSpPr>
          <p:spPr>
            <a:xfrm>
              <a:off x="7257256" y="-3562"/>
              <a:ext cx="0" cy="6816938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직선 연결선 6">
              <a:extLst>
                <a:ext uri="{FF2B5EF4-FFF2-40B4-BE49-F238E27FC236}">
                  <a16:creationId xmlns:a16="http://schemas.microsoft.com/office/drawing/2014/main" id="{4860EB04-C536-404F-98C0-823E8ADC86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1952021" y="1563825"/>
              <a:ext cx="9226508" cy="0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0B76F625-D0A3-4C9E-8D76-BC231976DDDC}"/>
              </a:ext>
            </a:extLst>
          </p:cNvPr>
          <p:cNvGrpSpPr/>
          <p:nvPr/>
        </p:nvGrpSpPr>
        <p:grpSpPr>
          <a:xfrm>
            <a:off x="479376" y="908720"/>
            <a:ext cx="6759312" cy="338554"/>
            <a:chOff x="479376" y="-963488"/>
            <a:chExt cx="6759312" cy="338554"/>
          </a:xfrm>
        </p:grpSpPr>
        <p:sp>
          <p:nvSpPr>
            <p:cNvPr id="9" name="사각형: 둥근 모서리 8">
              <a:extLst>
                <a:ext uri="{FF2B5EF4-FFF2-40B4-BE49-F238E27FC236}">
                  <a16:creationId xmlns:a16="http://schemas.microsoft.com/office/drawing/2014/main" id="{F66EE92C-BEAA-4A28-9FFE-528E99678B1D}"/>
                </a:ext>
              </a:extLst>
            </p:cNvPr>
            <p:cNvSpPr/>
            <p:nvPr/>
          </p:nvSpPr>
          <p:spPr>
            <a:xfrm>
              <a:off x="479376" y="-946863"/>
              <a:ext cx="590358" cy="305304"/>
            </a:xfrm>
            <a:prstGeom prst="roundRect">
              <a:avLst>
                <a:gd name="adj" fmla="val 50000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>
                      <a:alpha val="50000"/>
                    </a:schemeClr>
                  </a:solidFill>
                  <a:latin typeface="+mn-ea"/>
                  <a:cs typeface="Arial" panose="020B0604020202020204" pitchFamily="34" charset="0"/>
                </a:rPr>
                <a:t>0</a:t>
              </a:r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C8869CF-0725-41FD-AE4C-2AF26212AA85}"/>
                </a:ext>
              </a:extLst>
            </p:cNvPr>
            <p:cNvSpPr txBox="1"/>
            <p:nvPr/>
          </p:nvSpPr>
          <p:spPr>
            <a:xfrm>
              <a:off x="1127448" y="-963488"/>
              <a:ext cx="6111240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R="0" indent="0" algn="just" fontAlgn="base" latinLnBrk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 sz="1600" kern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defRPr>
              </a:lvl1pPr>
            </a:lstStyle>
            <a:p>
              <a:r>
                <a:rPr lang="ko-KR" altLang="en-US"/>
                <a:t>맞춤배달 </a:t>
              </a:r>
              <a:r>
                <a:rPr lang="en-US" altLang="ko-KR" dirty="0"/>
                <a:t>– </a:t>
              </a:r>
              <a:r>
                <a:rPr lang="ko-KR" altLang="en-US"/>
                <a:t>맞춤배달 이력</a:t>
              </a:r>
              <a:endParaRPr lang="en-US" altLang="ko-KR" dirty="0"/>
            </a:p>
          </p:txBody>
        </p:sp>
      </p:grpSp>
      <p:sp>
        <p:nvSpPr>
          <p:cNvPr id="18" name="모서리가 둥근 직사각형 84">
            <a:extLst>
              <a:ext uri="{FF2B5EF4-FFF2-40B4-BE49-F238E27FC236}">
                <a16:creationId xmlns:a16="http://schemas.microsoft.com/office/drawing/2014/main" id="{D9E92491-69DB-47E3-9C3D-CEB8EC0B6F64}"/>
              </a:ext>
            </a:extLst>
          </p:cNvPr>
          <p:cNvSpPr/>
          <p:nvPr/>
        </p:nvSpPr>
        <p:spPr>
          <a:xfrm>
            <a:off x="581348" y="2625112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1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grpSp>
        <p:nvGrpSpPr>
          <p:cNvPr id="39" name="그룹 38">
            <a:extLst>
              <a:ext uri="{FF2B5EF4-FFF2-40B4-BE49-F238E27FC236}">
                <a16:creationId xmlns:a16="http://schemas.microsoft.com/office/drawing/2014/main" id="{C24182FF-042D-1386-CD92-39BED52784DF}"/>
              </a:ext>
            </a:extLst>
          </p:cNvPr>
          <p:cNvGrpSpPr/>
          <p:nvPr/>
        </p:nvGrpSpPr>
        <p:grpSpPr>
          <a:xfrm>
            <a:off x="9291110" y="2357516"/>
            <a:ext cx="1298341" cy="230832"/>
            <a:chOff x="7316687" y="3282664"/>
            <a:chExt cx="1298341" cy="230832"/>
          </a:xfrm>
        </p:grpSpPr>
        <p:sp>
          <p:nvSpPr>
            <p:cNvPr id="40" name="TextBox 174">
              <a:extLst>
                <a:ext uri="{FF2B5EF4-FFF2-40B4-BE49-F238E27FC236}">
                  <a16:creationId xmlns:a16="http://schemas.microsoft.com/office/drawing/2014/main" id="{97B5D647-0A67-5137-5F9F-922E039928D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1124026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완료된 </a:t>
              </a: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회수</a:t>
              </a:r>
              <a:r>
                <a:rPr lang="en-US" altLang="ko-KR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/</a:t>
              </a: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배달</a:t>
              </a: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 결과</a:t>
              </a:r>
            </a:p>
          </p:txBody>
        </p:sp>
        <p:sp>
          <p:nvSpPr>
            <p:cNvPr id="41" name="모서리가 둥근 직사각형 84">
              <a:extLst>
                <a:ext uri="{FF2B5EF4-FFF2-40B4-BE49-F238E27FC236}">
                  <a16:creationId xmlns:a16="http://schemas.microsoft.com/office/drawing/2014/main" id="{2D51502B-A941-1862-7226-0E45CB54765D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2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42" name="TextBox 174">
            <a:extLst>
              <a:ext uri="{FF2B5EF4-FFF2-40B4-BE49-F238E27FC236}">
                <a16:creationId xmlns:a16="http://schemas.microsoft.com/office/drawing/2014/main" id="{0B862F0F-779A-DD07-0259-C274B5B299D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44873" y="2580891"/>
            <a:ext cx="2573667" cy="7617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 err="1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장비명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회수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/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배달 완료 일시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배달결과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배달결과 사진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grpSp>
        <p:nvGrpSpPr>
          <p:cNvPr id="43" name="그룹 42">
            <a:extLst>
              <a:ext uri="{FF2B5EF4-FFF2-40B4-BE49-F238E27FC236}">
                <a16:creationId xmlns:a16="http://schemas.microsoft.com/office/drawing/2014/main" id="{0F7D724C-BFB7-FE26-D8D3-661026277374}"/>
              </a:ext>
            </a:extLst>
          </p:cNvPr>
          <p:cNvGrpSpPr/>
          <p:nvPr/>
        </p:nvGrpSpPr>
        <p:grpSpPr>
          <a:xfrm>
            <a:off x="9303151" y="1740734"/>
            <a:ext cx="1298341" cy="230832"/>
            <a:chOff x="7316687" y="3282664"/>
            <a:chExt cx="1298341" cy="230832"/>
          </a:xfrm>
        </p:grpSpPr>
        <p:sp>
          <p:nvSpPr>
            <p:cNvPr id="44" name="TextBox 174">
              <a:extLst>
                <a:ext uri="{FF2B5EF4-FFF2-40B4-BE49-F238E27FC236}">
                  <a16:creationId xmlns:a16="http://schemas.microsoft.com/office/drawing/2014/main" id="{566063BC-90C2-452F-F680-066D3440C7C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1124026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완료된 </a:t>
              </a: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회수</a:t>
              </a:r>
              <a:r>
                <a:rPr lang="en-US" altLang="ko-KR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/</a:t>
              </a: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배달</a:t>
              </a: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 목록</a:t>
              </a:r>
            </a:p>
          </p:txBody>
        </p:sp>
        <p:sp>
          <p:nvSpPr>
            <p:cNvPr id="45" name="모서리가 둥근 직사각형 84">
              <a:extLst>
                <a:ext uri="{FF2B5EF4-FFF2-40B4-BE49-F238E27FC236}">
                  <a16:creationId xmlns:a16="http://schemas.microsoft.com/office/drawing/2014/main" id="{5991FE72-DBEF-91C3-8DD9-2CAF4B1CB0A1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1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46" name="TextBox 174">
            <a:extLst>
              <a:ext uri="{FF2B5EF4-FFF2-40B4-BE49-F238E27FC236}">
                <a16:creationId xmlns:a16="http://schemas.microsoft.com/office/drawing/2014/main" id="{53A42E35-23BC-4549-174A-97EE2244469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63923" y="1961021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완료된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회수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/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배달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목록 조회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grpSp>
        <p:nvGrpSpPr>
          <p:cNvPr id="47" name="그룹 46">
            <a:extLst>
              <a:ext uri="{FF2B5EF4-FFF2-40B4-BE49-F238E27FC236}">
                <a16:creationId xmlns:a16="http://schemas.microsoft.com/office/drawing/2014/main" id="{0882852D-4BDB-2D23-9BB8-620FBF010EFE}"/>
              </a:ext>
            </a:extLst>
          </p:cNvPr>
          <p:cNvGrpSpPr/>
          <p:nvPr/>
        </p:nvGrpSpPr>
        <p:grpSpPr>
          <a:xfrm>
            <a:off x="9304927" y="3414192"/>
            <a:ext cx="1190940" cy="230832"/>
            <a:chOff x="7316687" y="3282664"/>
            <a:chExt cx="1190940" cy="230832"/>
          </a:xfrm>
        </p:grpSpPr>
        <p:sp>
          <p:nvSpPr>
            <p:cNvPr id="48" name="TextBox 174">
              <a:extLst>
                <a:ext uri="{FF2B5EF4-FFF2-40B4-BE49-F238E27FC236}">
                  <a16:creationId xmlns:a16="http://schemas.microsoft.com/office/drawing/2014/main" id="{F89FE6AE-700B-0952-234F-6F016168A98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101662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배달 결과 사진 확대</a:t>
              </a:r>
            </a:p>
          </p:txBody>
        </p:sp>
        <p:sp>
          <p:nvSpPr>
            <p:cNvPr id="49" name="모서리가 둥근 직사각형 84">
              <a:extLst>
                <a:ext uri="{FF2B5EF4-FFF2-40B4-BE49-F238E27FC236}">
                  <a16:creationId xmlns:a16="http://schemas.microsoft.com/office/drawing/2014/main" id="{07A74022-91B9-DE52-1515-AFC58734FBA1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3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50" name="모서리가 둥근 직사각형 84">
            <a:extLst>
              <a:ext uri="{FF2B5EF4-FFF2-40B4-BE49-F238E27FC236}">
                <a16:creationId xmlns:a16="http://schemas.microsoft.com/office/drawing/2014/main" id="{CFBFDBCA-EC7B-9466-FE47-98F29772CF2E}"/>
              </a:ext>
            </a:extLst>
          </p:cNvPr>
          <p:cNvSpPr/>
          <p:nvPr/>
        </p:nvSpPr>
        <p:spPr>
          <a:xfrm>
            <a:off x="2844405" y="2625112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2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51" name="모서리가 둥근 직사각형 84">
            <a:extLst>
              <a:ext uri="{FF2B5EF4-FFF2-40B4-BE49-F238E27FC236}">
                <a16:creationId xmlns:a16="http://schemas.microsoft.com/office/drawing/2014/main" id="{79501194-5815-BF7B-ADFE-61894EE1CF2F}"/>
              </a:ext>
            </a:extLst>
          </p:cNvPr>
          <p:cNvSpPr/>
          <p:nvPr/>
        </p:nvSpPr>
        <p:spPr>
          <a:xfrm>
            <a:off x="2874855" y="3541958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3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4050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C5286BA-92CE-41FB-BB05-BE0F5BBA1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맞춤배달</a:t>
            </a:r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B73B35C2-EB8A-4573-B037-7CC6DF06F86A}"/>
              </a:ext>
            </a:extLst>
          </p:cNvPr>
          <p:cNvGrpSpPr/>
          <p:nvPr/>
        </p:nvGrpSpPr>
        <p:grpSpPr>
          <a:xfrm>
            <a:off x="0" y="-3562"/>
            <a:ext cx="9226508" cy="6816938"/>
            <a:chOff x="-1952021" y="-3562"/>
            <a:chExt cx="9226508" cy="6816938"/>
          </a:xfrm>
        </p:grpSpPr>
        <p:cxnSp>
          <p:nvCxnSpPr>
            <p:cNvPr id="6" name="직선 연결선 5">
              <a:extLst>
                <a:ext uri="{FF2B5EF4-FFF2-40B4-BE49-F238E27FC236}">
                  <a16:creationId xmlns:a16="http://schemas.microsoft.com/office/drawing/2014/main" id="{B4C45666-B8F5-4C50-86A6-C4C0BE1D6FE0}"/>
                </a:ext>
              </a:extLst>
            </p:cNvPr>
            <p:cNvCxnSpPr>
              <a:cxnSpLocks/>
            </p:cNvCxnSpPr>
            <p:nvPr/>
          </p:nvCxnSpPr>
          <p:spPr>
            <a:xfrm>
              <a:off x="7257256" y="-3562"/>
              <a:ext cx="0" cy="6816938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직선 연결선 6">
              <a:extLst>
                <a:ext uri="{FF2B5EF4-FFF2-40B4-BE49-F238E27FC236}">
                  <a16:creationId xmlns:a16="http://schemas.microsoft.com/office/drawing/2014/main" id="{4860EB04-C536-404F-98C0-823E8ADC86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1952021" y="1563825"/>
              <a:ext cx="9226508" cy="0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0B76F625-D0A3-4C9E-8D76-BC231976DDDC}"/>
              </a:ext>
            </a:extLst>
          </p:cNvPr>
          <p:cNvGrpSpPr/>
          <p:nvPr/>
        </p:nvGrpSpPr>
        <p:grpSpPr>
          <a:xfrm>
            <a:off x="479376" y="908720"/>
            <a:ext cx="6759312" cy="338554"/>
            <a:chOff x="479376" y="-963488"/>
            <a:chExt cx="6759312" cy="338554"/>
          </a:xfrm>
        </p:grpSpPr>
        <p:sp>
          <p:nvSpPr>
            <p:cNvPr id="9" name="사각형: 둥근 모서리 8">
              <a:extLst>
                <a:ext uri="{FF2B5EF4-FFF2-40B4-BE49-F238E27FC236}">
                  <a16:creationId xmlns:a16="http://schemas.microsoft.com/office/drawing/2014/main" id="{F66EE92C-BEAA-4A28-9FFE-528E99678B1D}"/>
                </a:ext>
              </a:extLst>
            </p:cNvPr>
            <p:cNvSpPr/>
            <p:nvPr/>
          </p:nvSpPr>
          <p:spPr>
            <a:xfrm>
              <a:off x="479376" y="-946863"/>
              <a:ext cx="590358" cy="305304"/>
            </a:xfrm>
            <a:prstGeom prst="roundRect">
              <a:avLst>
                <a:gd name="adj" fmla="val 50000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>
                      <a:alpha val="50000"/>
                    </a:schemeClr>
                  </a:solidFill>
                  <a:latin typeface="+mn-ea"/>
                  <a:cs typeface="Arial" panose="020B0604020202020204" pitchFamily="34" charset="0"/>
                </a:rPr>
                <a:t>0</a:t>
              </a:r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C8869CF-0725-41FD-AE4C-2AF26212AA85}"/>
                </a:ext>
              </a:extLst>
            </p:cNvPr>
            <p:cNvSpPr txBox="1"/>
            <p:nvPr/>
          </p:nvSpPr>
          <p:spPr>
            <a:xfrm>
              <a:off x="1127448" y="-963488"/>
              <a:ext cx="6111240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R="0" indent="0" algn="just" fontAlgn="base" latinLnBrk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 sz="1600" kern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defRPr>
              </a:lvl1pPr>
            </a:lstStyle>
            <a:p>
              <a:r>
                <a:rPr lang="ko-KR" altLang="en-US"/>
                <a:t>맞춤배달 </a:t>
              </a:r>
              <a:r>
                <a:rPr lang="en-US" altLang="ko-KR" dirty="0"/>
                <a:t>– </a:t>
              </a:r>
              <a:r>
                <a:rPr lang="ko-KR" altLang="en-US"/>
                <a:t>서비스만족도 입력</a:t>
              </a:r>
              <a:endParaRPr lang="en-US" altLang="ko-KR" dirty="0"/>
            </a:p>
          </p:txBody>
        </p:sp>
      </p:grpSp>
      <p:pic>
        <p:nvPicPr>
          <p:cNvPr id="13" name="그림 12" descr="텍스트, 스크린샷, 번호, 폰트이(가) 표시된 사진&#10;&#10;자동 생성된 설명">
            <a:extLst>
              <a:ext uri="{FF2B5EF4-FFF2-40B4-BE49-F238E27FC236}">
                <a16:creationId xmlns:a16="http://schemas.microsoft.com/office/drawing/2014/main" id="{7212F3D0-2BA6-6ABC-89CF-033B77B53788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597600" y="2062800"/>
            <a:ext cx="2052000" cy="4294800"/>
          </a:xfrm>
          <a:prstGeom prst="rect">
            <a:avLst/>
          </a:prstGeom>
        </p:spPr>
      </p:pic>
      <p:sp>
        <p:nvSpPr>
          <p:cNvPr id="3" name="모서리가 둥근 직사각형 84">
            <a:extLst>
              <a:ext uri="{FF2B5EF4-FFF2-40B4-BE49-F238E27FC236}">
                <a16:creationId xmlns:a16="http://schemas.microsoft.com/office/drawing/2014/main" id="{81639FCC-7C79-D75A-DDBA-2A65A2A4D0AC}"/>
              </a:ext>
            </a:extLst>
          </p:cNvPr>
          <p:cNvSpPr/>
          <p:nvPr/>
        </p:nvSpPr>
        <p:spPr>
          <a:xfrm>
            <a:off x="2135560" y="2634422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1</a:t>
            </a:r>
            <a:endParaRPr lang="ko-KR" altLang="en-US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4" name="모서리가 둥근 직사각형 84">
            <a:extLst>
              <a:ext uri="{FF2B5EF4-FFF2-40B4-BE49-F238E27FC236}">
                <a16:creationId xmlns:a16="http://schemas.microsoft.com/office/drawing/2014/main" id="{33BCC992-E967-BA08-9078-7E00D6A70863}"/>
              </a:ext>
            </a:extLst>
          </p:cNvPr>
          <p:cNvSpPr/>
          <p:nvPr/>
        </p:nvSpPr>
        <p:spPr>
          <a:xfrm>
            <a:off x="527188" y="2773026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2</a:t>
            </a:r>
            <a:endParaRPr lang="ko-KR" altLang="en-US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14" name="모서리가 둥근 직사각형 84">
            <a:extLst>
              <a:ext uri="{FF2B5EF4-FFF2-40B4-BE49-F238E27FC236}">
                <a16:creationId xmlns:a16="http://schemas.microsoft.com/office/drawing/2014/main" id="{0FEB0927-3A8C-F727-C875-80C57B385290}"/>
              </a:ext>
            </a:extLst>
          </p:cNvPr>
          <p:cNvSpPr/>
          <p:nvPr/>
        </p:nvSpPr>
        <p:spPr>
          <a:xfrm>
            <a:off x="528174" y="4338012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4</a:t>
            </a:r>
            <a:endParaRPr lang="ko-KR" altLang="en-US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15" name="모서리가 둥근 직사각형 84">
            <a:extLst>
              <a:ext uri="{FF2B5EF4-FFF2-40B4-BE49-F238E27FC236}">
                <a16:creationId xmlns:a16="http://schemas.microsoft.com/office/drawing/2014/main" id="{A82ACD7F-40FD-E39C-6346-814994D950DA}"/>
              </a:ext>
            </a:extLst>
          </p:cNvPr>
          <p:cNvSpPr/>
          <p:nvPr/>
        </p:nvSpPr>
        <p:spPr>
          <a:xfrm>
            <a:off x="1847528" y="2949910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3</a:t>
            </a:r>
            <a:endParaRPr lang="ko-KR" altLang="en-US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16" name="모서리가 둥근 직사각형 84">
            <a:extLst>
              <a:ext uri="{FF2B5EF4-FFF2-40B4-BE49-F238E27FC236}">
                <a16:creationId xmlns:a16="http://schemas.microsoft.com/office/drawing/2014/main" id="{1A8C517B-674E-D745-AC35-08D847D22C07}"/>
              </a:ext>
            </a:extLst>
          </p:cNvPr>
          <p:cNvSpPr/>
          <p:nvPr/>
        </p:nvSpPr>
        <p:spPr>
          <a:xfrm>
            <a:off x="1588887" y="4297315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5</a:t>
            </a:r>
            <a:endParaRPr lang="ko-KR" altLang="en-US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64A3227C-D5AA-A55F-4CE0-E2B4BBD49ACD}"/>
              </a:ext>
            </a:extLst>
          </p:cNvPr>
          <p:cNvGrpSpPr/>
          <p:nvPr/>
        </p:nvGrpSpPr>
        <p:grpSpPr>
          <a:xfrm>
            <a:off x="9298103" y="1647761"/>
            <a:ext cx="1383300" cy="230832"/>
            <a:chOff x="7316687" y="3282664"/>
            <a:chExt cx="1383300" cy="230832"/>
          </a:xfrm>
        </p:grpSpPr>
        <p:sp>
          <p:nvSpPr>
            <p:cNvPr id="18" name="TextBox 174">
              <a:extLst>
                <a:ext uri="{FF2B5EF4-FFF2-40B4-BE49-F238E27FC236}">
                  <a16:creationId xmlns:a16="http://schemas.microsoft.com/office/drawing/2014/main" id="{2AFF598E-5D55-453E-219D-F5A6C577CD8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120898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서비스 </a:t>
              </a: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만족도 조사 문항</a:t>
              </a:r>
              <a:endPara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  <p:sp>
          <p:nvSpPr>
            <p:cNvPr id="19" name="모서리가 둥근 직사각형 84">
              <a:extLst>
                <a:ext uri="{FF2B5EF4-FFF2-40B4-BE49-F238E27FC236}">
                  <a16:creationId xmlns:a16="http://schemas.microsoft.com/office/drawing/2014/main" id="{0A55DAB4-37C7-8108-179F-A33863FE43EF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1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0" name="TextBox 174">
            <a:extLst>
              <a:ext uri="{FF2B5EF4-FFF2-40B4-BE49-F238E27FC236}">
                <a16:creationId xmlns:a16="http://schemas.microsoft.com/office/drawing/2014/main" id="{460AC159-3500-DADD-B6F2-113BC879067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58875" y="1868048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응답 문항 개수와</a:t>
            </a: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</a:t>
            </a: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총 문항의 개수 표출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grpSp>
        <p:nvGrpSpPr>
          <p:cNvPr id="21" name="그룹 20">
            <a:extLst>
              <a:ext uri="{FF2B5EF4-FFF2-40B4-BE49-F238E27FC236}">
                <a16:creationId xmlns:a16="http://schemas.microsoft.com/office/drawing/2014/main" id="{16E6C34E-1192-5001-2946-88AAF5AFAB9C}"/>
              </a:ext>
            </a:extLst>
          </p:cNvPr>
          <p:cNvGrpSpPr/>
          <p:nvPr/>
        </p:nvGrpSpPr>
        <p:grpSpPr>
          <a:xfrm>
            <a:off x="9299069" y="4057906"/>
            <a:ext cx="764541" cy="230832"/>
            <a:chOff x="7316687" y="3282664"/>
            <a:chExt cx="764541" cy="230832"/>
          </a:xfrm>
        </p:grpSpPr>
        <p:sp>
          <p:nvSpPr>
            <p:cNvPr id="22" name="TextBox 174">
              <a:extLst>
                <a:ext uri="{FF2B5EF4-FFF2-40B4-BE49-F238E27FC236}">
                  <a16:creationId xmlns:a16="http://schemas.microsoft.com/office/drawing/2014/main" id="{313FF5C6-8FA1-B181-1078-A0E6F4BF58A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590226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이전 버튼</a:t>
              </a:r>
              <a:endPara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  <p:sp>
          <p:nvSpPr>
            <p:cNvPr id="23" name="모서리가 둥근 직사각형 84">
              <a:extLst>
                <a:ext uri="{FF2B5EF4-FFF2-40B4-BE49-F238E27FC236}">
                  <a16:creationId xmlns:a16="http://schemas.microsoft.com/office/drawing/2014/main" id="{F3E0AD55-F9D0-EF78-14CD-7EBEEBF90342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4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4" name="TextBox 174">
            <a:extLst>
              <a:ext uri="{FF2B5EF4-FFF2-40B4-BE49-F238E27FC236}">
                <a16:creationId xmlns:a16="http://schemas.microsoft.com/office/drawing/2014/main" id="{91D7567B-FDC0-190E-2E4C-41818D5A9A7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66048" y="4297315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클릭 시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,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이전 문항으로 이동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grpSp>
        <p:nvGrpSpPr>
          <p:cNvPr id="25" name="그룹 24">
            <a:extLst>
              <a:ext uri="{FF2B5EF4-FFF2-40B4-BE49-F238E27FC236}">
                <a16:creationId xmlns:a16="http://schemas.microsoft.com/office/drawing/2014/main" id="{63F52D7D-C4FD-2423-C651-0D3D45F73ADD}"/>
              </a:ext>
            </a:extLst>
          </p:cNvPr>
          <p:cNvGrpSpPr/>
          <p:nvPr/>
        </p:nvGrpSpPr>
        <p:grpSpPr>
          <a:xfrm>
            <a:off x="9299835" y="2112953"/>
            <a:ext cx="881560" cy="230832"/>
            <a:chOff x="7316687" y="3282664"/>
            <a:chExt cx="881560" cy="230832"/>
          </a:xfrm>
        </p:grpSpPr>
        <p:sp>
          <p:nvSpPr>
            <p:cNvPr id="26" name="TextBox 174">
              <a:extLst>
                <a:ext uri="{FF2B5EF4-FFF2-40B4-BE49-F238E27FC236}">
                  <a16:creationId xmlns:a16="http://schemas.microsoft.com/office/drawing/2014/main" id="{F583D69F-6DE1-7358-532D-711771FF32C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70724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질문 및 응답</a:t>
              </a:r>
              <a:endPara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  <p:sp>
          <p:nvSpPr>
            <p:cNvPr id="27" name="모서리가 둥근 직사각형 84">
              <a:extLst>
                <a:ext uri="{FF2B5EF4-FFF2-40B4-BE49-F238E27FC236}">
                  <a16:creationId xmlns:a16="http://schemas.microsoft.com/office/drawing/2014/main" id="{9170158A-771E-7D43-4E5B-1919EDAA3B03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2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8" name="TextBox 174">
            <a:extLst>
              <a:ext uri="{FF2B5EF4-FFF2-40B4-BE49-F238E27FC236}">
                <a16:creationId xmlns:a16="http://schemas.microsoft.com/office/drawing/2014/main" id="{4F60A06B-35E8-FBDF-6F69-F4080537E92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66814" y="2352362"/>
            <a:ext cx="2573667" cy="1292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  <a:buClr>
                <a:srgbClr val="D0A660"/>
              </a:buClr>
              <a:buSzPct val="100000"/>
              <a:defRPr/>
            </a:pPr>
            <a:r>
              <a:rPr lang="en-US" altLang="ko-Kore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[</a:t>
            </a: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응답 </a:t>
            </a:r>
            <a:r>
              <a:rPr lang="en-US" altLang="ko-Kore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]</a:t>
            </a: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매우 만족함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만족하는 편임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보통</a:t>
            </a:r>
            <a:r>
              <a:rPr lang="en-US" altLang="ko-Kore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/</a:t>
            </a: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반반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불만족하는 편임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전혀 불만족함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grpSp>
        <p:nvGrpSpPr>
          <p:cNvPr id="29" name="그룹 28">
            <a:extLst>
              <a:ext uri="{FF2B5EF4-FFF2-40B4-BE49-F238E27FC236}">
                <a16:creationId xmlns:a16="http://schemas.microsoft.com/office/drawing/2014/main" id="{402BB8C0-7BEC-AFD5-5F61-EE1F8D8C22DB}"/>
              </a:ext>
            </a:extLst>
          </p:cNvPr>
          <p:cNvGrpSpPr/>
          <p:nvPr/>
        </p:nvGrpSpPr>
        <p:grpSpPr>
          <a:xfrm>
            <a:off x="9309401" y="4614943"/>
            <a:ext cx="764541" cy="230832"/>
            <a:chOff x="7316687" y="3282664"/>
            <a:chExt cx="764541" cy="230832"/>
          </a:xfrm>
        </p:grpSpPr>
        <p:sp>
          <p:nvSpPr>
            <p:cNvPr id="30" name="TextBox 174">
              <a:extLst>
                <a:ext uri="{FF2B5EF4-FFF2-40B4-BE49-F238E27FC236}">
                  <a16:creationId xmlns:a16="http://schemas.microsoft.com/office/drawing/2014/main" id="{D1E57EE3-7C1F-617F-3FD8-157F765F38B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590226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다음 버튼</a:t>
              </a:r>
              <a:endPara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  <p:sp>
          <p:nvSpPr>
            <p:cNvPr id="31" name="모서리가 둥근 직사각형 84">
              <a:extLst>
                <a:ext uri="{FF2B5EF4-FFF2-40B4-BE49-F238E27FC236}">
                  <a16:creationId xmlns:a16="http://schemas.microsoft.com/office/drawing/2014/main" id="{3B88FBBB-44C6-5712-3805-493CC6795D22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5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32" name="TextBox 174">
            <a:extLst>
              <a:ext uri="{FF2B5EF4-FFF2-40B4-BE49-F238E27FC236}">
                <a16:creationId xmlns:a16="http://schemas.microsoft.com/office/drawing/2014/main" id="{0C0CC0C3-AF33-0A3F-1BAE-2125C3E09A6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76380" y="4854352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클릭 시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,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다음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문항으로 이동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grpSp>
        <p:nvGrpSpPr>
          <p:cNvPr id="33" name="그룹 32">
            <a:extLst>
              <a:ext uri="{FF2B5EF4-FFF2-40B4-BE49-F238E27FC236}">
                <a16:creationId xmlns:a16="http://schemas.microsoft.com/office/drawing/2014/main" id="{587319D3-1604-81B5-271E-91C3FABE74BA}"/>
              </a:ext>
            </a:extLst>
          </p:cNvPr>
          <p:cNvGrpSpPr/>
          <p:nvPr/>
        </p:nvGrpSpPr>
        <p:grpSpPr>
          <a:xfrm>
            <a:off x="9299069" y="3465623"/>
            <a:ext cx="1073920" cy="230832"/>
            <a:chOff x="7316687" y="3282664"/>
            <a:chExt cx="1073920" cy="230832"/>
          </a:xfrm>
        </p:grpSpPr>
        <p:sp>
          <p:nvSpPr>
            <p:cNvPr id="34" name="TextBox 174">
              <a:extLst>
                <a:ext uri="{FF2B5EF4-FFF2-40B4-BE49-F238E27FC236}">
                  <a16:creationId xmlns:a16="http://schemas.microsoft.com/office/drawing/2014/main" id="{5D5FB0D2-E2A1-4DAC-A73D-BAD31C3EB6B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89960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선택 초기화 버튼</a:t>
              </a:r>
              <a:endPara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  <p:sp>
          <p:nvSpPr>
            <p:cNvPr id="35" name="모서리가 둥근 직사각형 84">
              <a:extLst>
                <a:ext uri="{FF2B5EF4-FFF2-40B4-BE49-F238E27FC236}">
                  <a16:creationId xmlns:a16="http://schemas.microsoft.com/office/drawing/2014/main" id="{BFE4747D-216D-24F1-3C16-4D07EB2576AA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3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36" name="TextBox 174">
            <a:extLst>
              <a:ext uri="{FF2B5EF4-FFF2-40B4-BE49-F238E27FC236}">
                <a16:creationId xmlns:a16="http://schemas.microsoft.com/office/drawing/2014/main" id="{760F4F75-9D8C-7392-E18B-3F6F5AA3029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66048" y="3705032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클릭 시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,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해당 문항의 응답 초기화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84254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그림 13" descr="텍스트, 번호, 폰트, 스크린샷이(가) 표시된 사진&#10;&#10;자동 생성된 설명">
            <a:extLst>
              <a:ext uri="{FF2B5EF4-FFF2-40B4-BE49-F238E27FC236}">
                <a16:creationId xmlns:a16="http://schemas.microsoft.com/office/drawing/2014/main" id="{3692B7ED-1787-7EAA-B912-1BA0C5FC1B8B}"/>
              </a:ext>
            </a:extLst>
          </p:cNvPr>
          <p:cNvPicPr>
            <a:picLocks/>
          </p:cNvPicPr>
          <p:nvPr/>
        </p:nvPicPr>
        <p:blipFill rotWithShape="1">
          <a:blip r:embed="rId3"/>
          <a:srcRect b="6154"/>
          <a:stretch/>
        </p:blipFill>
        <p:spPr>
          <a:xfrm>
            <a:off x="2880000" y="2062800"/>
            <a:ext cx="2052000" cy="4031999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20" name="그림 19" descr="텍스트, 스크린샷, 폰트이(가) 표시된 사진&#10;&#10;자동 생성된 설명">
            <a:extLst>
              <a:ext uri="{FF2B5EF4-FFF2-40B4-BE49-F238E27FC236}">
                <a16:creationId xmlns:a16="http://schemas.microsoft.com/office/drawing/2014/main" id="{4BFDEABE-1D34-404B-0C46-0F9DA6176E0C}"/>
              </a:ext>
            </a:extLst>
          </p:cNvPr>
          <p:cNvPicPr>
            <a:picLocks/>
          </p:cNvPicPr>
          <p:nvPr/>
        </p:nvPicPr>
        <p:blipFill rotWithShape="1">
          <a:blip r:embed="rId4"/>
          <a:srcRect b="6154"/>
          <a:stretch/>
        </p:blipFill>
        <p:spPr>
          <a:xfrm>
            <a:off x="597600" y="2062800"/>
            <a:ext cx="2052000" cy="4031999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2" name="제목 1">
            <a:extLst>
              <a:ext uri="{FF2B5EF4-FFF2-40B4-BE49-F238E27FC236}">
                <a16:creationId xmlns:a16="http://schemas.microsoft.com/office/drawing/2014/main" id="{0C5286BA-92CE-41FB-BB05-BE0F5BBA1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맞춤예약</a:t>
            </a:r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B73B35C2-EB8A-4573-B037-7CC6DF06F86A}"/>
              </a:ext>
            </a:extLst>
          </p:cNvPr>
          <p:cNvGrpSpPr/>
          <p:nvPr/>
        </p:nvGrpSpPr>
        <p:grpSpPr>
          <a:xfrm>
            <a:off x="0" y="-3562"/>
            <a:ext cx="9226508" cy="6816938"/>
            <a:chOff x="-1952021" y="-3562"/>
            <a:chExt cx="9226508" cy="6816938"/>
          </a:xfrm>
        </p:grpSpPr>
        <p:cxnSp>
          <p:nvCxnSpPr>
            <p:cNvPr id="6" name="직선 연결선 5">
              <a:extLst>
                <a:ext uri="{FF2B5EF4-FFF2-40B4-BE49-F238E27FC236}">
                  <a16:creationId xmlns:a16="http://schemas.microsoft.com/office/drawing/2014/main" id="{B4C45666-B8F5-4C50-86A6-C4C0BE1D6FE0}"/>
                </a:ext>
              </a:extLst>
            </p:cNvPr>
            <p:cNvCxnSpPr>
              <a:cxnSpLocks/>
            </p:cNvCxnSpPr>
            <p:nvPr/>
          </p:nvCxnSpPr>
          <p:spPr>
            <a:xfrm>
              <a:off x="7257256" y="-3562"/>
              <a:ext cx="0" cy="6816938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직선 연결선 6">
              <a:extLst>
                <a:ext uri="{FF2B5EF4-FFF2-40B4-BE49-F238E27FC236}">
                  <a16:creationId xmlns:a16="http://schemas.microsoft.com/office/drawing/2014/main" id="{4860EB04-C536-404F-98C0-823E8ADC86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1952021" y="1563825"/>
              <a:ext cx="9226508" cy="0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0B76F625-D0A3-4C9E-8D76-BC231976DDDC}"/>
              </a:ext>
            </a:extLst>
          </p:cNvPr>
          <p:cNvGrpSpPr/>
          <p:nvPr/>
        </p:nvGrpSpPr>
        <p:grpSpPr>
          <a:xfrm>
            <a:off x="479376" y="908720"/>
            <a:ext cx="6759312" cy="338554"/>
            <a:chOff x="479376" y="-963488"/>
            <a:chExt cx="6759312" cy="338554"/>
          </a:xfrm>
        </p:grpSpPr>
        <p:sp>
          <p:nvSpPr>
            <p:cNvPr id="9" name="사각형: 둥근 모서리 8">
              <a:extLst>
                <a:ext uri="{FF2B5EF4-FFF2-40B4-BE49-F238E27FC236}">
                  <a16:creationId xmlns:a16="http://schemas.microsoft.com/office/drawing/2014/main" id="{F66EE92C-BEAA-4A28-9FFE-528E99678B1D}"/>
                </a:ext>
              </a:extLst>
            </p:cNvPr>
            <p:cNvSpPr/>
            <p:nvPr/>
          </p:nvSpPr>
          <p:spPr>
            <a:xfrm>
              <a:off x="479376" y="-946863"/>
              <a:ext cx="590358" cy="305304"/>
            </a:xfrm>
            <a:prstGeom prst="roundRect">
              <a:avLst>
                <a:gd name="adj" fmla="val 50000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>
                      <a:alpha val="50000"/>
                    </a:schemeClr>
                  </a:solidFill>
                  <a:latin typeface="+mn-ea"/>
                  <a:cs typeface="Arial" panose="020B0604020202020204" pitchFamily="34" charset="0"/>
                </a:rPr>
                <a:t>0</a:t>
              </a:r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C8869CF-0725-41FD-AE4C-2AF26212AA85}"/>
                </a:ext>
              </a:extLst>
            </p:cNvPr>
            <p:cNvSpPr txBox="1"/>
            <p:nvPr/>
          </p:nvSpPr>
          <p:spPr>
            <a:xfrm>
              <a:off x="1127448" y="-963488"/>
              <a:ext cx="6111240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R="0" indent="0" algn="just" fontAlgn="base" latinLnBrk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 sz="1600" kern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defRPr>
              </a:lvl1pPr>
            </a:lstStyle>
            <a:p>
              <a:r>
                <a:rPr lang="ko-KR" altLang="en-US"/>
                <a:t>맞춤예약 </a:t>
              </a:r>
              <a:r>
                <a:rPr lang="en-US" altLang="ko-KR" dirty="0"/>
                <a:t>– </a:t>
              </a:r>
              <a:r>
                <a:rPr lang="ko-KR" altLang="en-US"/>
                <a:t>맞춤예약 캘린더</a:t>
              </a:r>
              <a:endParaRPr lang="en-US" altLang="ko-KR" dirty="0"/>
            </a:p>
          </p:txBody>
        </p:sp>
      </p:grpSp>
      <p:grpSp>
        <p:nvGrpSpPr>
          <p:cNvPr id="28" name="그룹 27">
            <a:extLst>
              <a:ext uri="{FF2B5EF4-FFF2-40B4-BE49-F238E27FC236}">
                <a16:creationId xmlns:a16="http://schemas.microsoft.com/office/drawing/2014/main" id="{36BAA0D3-C474-47D4-8D05-41686692954A}"/>
              </a:ext>
            </a:extLst>
          </p:cNvPr>
          <p:cNvGrpSpPr/>
          <p:nvPr/>
        </p:nvGrpSpPr>
        <p:grpSpPr>
          <a:xfrm>
            <a:off x="9305664" y="4820286"/>
            <a:ext cx="1170100" cy="230832"/>
            <a:chOff x="7316687" y="3282664"/>
            <a:chExt cx="1170100" cy="230832"/>
          </a:xfrm>
        </p:grpSpPr>
        <p:sp>
          <p:nvSpPr>
            <p:cNvPr id="29" name="TextBox 174">
              <a:extLst>
                <a:ext uri="{FF2B5EF4-FFF2-40B4-BE49-F238E27FC236}">
                  <a16:creationId xmlns:a16="http://schemas.microsoft.com/office/drawing/2014/main" id="{9C4CB767-348A-41DB-BDE9-8F6ED8B6AB2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99578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예약일자 선택 버튼</a:t>
              </a:r>
            </a:p>
          </p:txBody>
        </p:sp>
        <p:sp>
          <p:nvSpPr>
            <p:cNvPr id="30" name="모서리가 둥근 직사각형 84">
              <a:extLst>
                <a:ext uri="{FF2B5EF4-FFF2-40B4-BE49-F238E27FC236}">
                  <a16:creationId xmlns:a16="http://schemas.microsoft.com/office/drawing/2014/main" id="{FFAAA131-7D80-4A49-831B-7010A3AFBA7F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5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31" name="TextBox 174">
            <a:extLst>
              <a:ext uri="{FF2B5EF4-FFF2-40B4-BE49-F238E27FC236}">
                <a16:creationId xmlns:a16="http://schemas.microsoft.com/office/drawing/2014/main" id="{1CD298F9-D6BF-4385-947F-1B5452E37BF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59427" y="5043661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클릭 시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방문 예약일자 선택을 위한 팝업 표출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grpSp>
        <p:nvGrpSpPr>
          <p:cNvPr id="3" name="그룹 2">
            <a:extLst>
              <a:ext uri="{FF2B5EF4-FFF2-40B4-BE49-F238E27FC236}">
                <a16:creationId xmlns:a16="http://schemas.microsoft.com/office/drawing/2014/main" id="{7092A8F4-2661-FC43-3986-0E6D5F905A4E}"/>
              </a:ext>
            </a:extLst>
          </p:cNvPr>
          <p:cNvGrpSpPr/>
          <p:nvPr/>
        </p:nvGrpSpPr>
        <p:grpSpPr>
          <a:xfrm>
            <a:off x="9312000" y="3683498"/>
            <a:ext cx="956902" cy="230832"/>
            <a:chOff x="7316687" y="3282664"/>
            <a:chExt cx="956902" cy="230832"/>
          </a:xfrm>
        </p:grpSpPr>
        <p:sp>
          <p:nvSpPr>
            <p:cNvPr id="4" name="TextBox 174">
              <a:extLst>
                <a:ext uri="{FF2B5EF4-FFF2-40B4-BE49-F238E27FC236}">
                  <a16:creationId xmlns:a16="http://schemas.microsoft.com/office/drawing/2014/main" id="{021C129A-1EBA-710F-CAE0-FED372ACC54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782587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진행중인 작업</a:t>
              </a:r>
            </a:p>
          </p:txBody>
        </p:sp>
        <p:sp>
          <p:nvSpPr>
            <p:cNvPr id="11" name="모서리가 둥근 직사각형 84">
              <a:extLst>
                <a:ext uri="{FF2B5EF4-FFF2-40B4-BE49-F238E27FC236}">
                  <a16:creationId xmlns:a16="http://schemas.microsoft.com/office/drawing/2014/main" id="{C26CF10D-DA21-2B04-0399-561423DC9D59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4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12" name="TextBox 174">
            <a:extLst>
              <a:ext uri="{FF2B5EF4-FFF2-40B4-BE49-F238E27FC236}">
                <a16:creationId xmlns:a16="http://schemas.microsoft.com/office/drawing/2014/main" id="{225B13D4-D5A6-4A50-02D8-35CBFFBBBC1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60495" y="3941475"/>
            <a:ext cx="2573667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b="1" spc="-150" dirty="0" err="1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장비명</a:t>
            </a:r>
            <a:endParaRPr lang="en-US" altLang="ko-KR" sz="900" b="1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예약 가능 일정 또는 </a:t>
            </a:r>
            <a:r>
              <a: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예약</a:t>
            </a:r>
            <a:r>
              <a: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일자</a:t>
            </a:r>
            <a:endParaRPr lang="en-US" altLang="ko-KR" sz="900" b="1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작업 상태</a:t>
            </a:r>
            <a:br>
              <a:rPr lang="en-US" altLang="ko-KR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</a:br>
            <a:r>
              <a:rPr lang="en-US" altLang="ko-KR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-</a:t>
            </a:r>
            <a:r>
              <a: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대기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: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방문 예약일자 선택 전</a:t>
            </a:r>
            <a:b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</a:b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-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확정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: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날짜를 선택하여 확정된 상태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grpSp>
        <p:nvGrpSpPr>
          <p:cNvPr id="13" name="그룹 12">
            <a:extLst>
              <a:ext uri="{FF2B5EF4-FFF2-40B4-BE49-F238E27FC236}">
                <a16:creationId xmlns:a16="http://schemas.microsoft.com/office/drawing/2014/main" id="{632E8265-E8A8-CB9B-9C73-910E21B430CB}"/>
              </a:ext>
            </a:extLst>
          </p:cNvPr>
          <p:cNvGrpSpPr/>
          <p:nvPr/>
        </p:nvGrpSpPr>
        <p:grpSpPr>
          <a:xfrm>
            <a:off x="9292129" y="3049889"/>
            <a:ext cx="1266281" cy="230832"/>
            <a:chOff x="7316687" y="3282664"/>
            <a:chExt cx="1266281" cy="230832"/>
          </a:xfrm>
        </p:grpSpPr>
        <p:sp>
          <p:nvSpPr>
            <p:cNvPr id="15" name="TextBox 174">
              <a:extLst>
                <a:ext uri="{FF2B5EF4-FFF2-40B4-BE49-F238E27FC236}">
                  <a16:creationId xmlns:a16="http://schemas.microsoft.com/office/drawing/2014/main" id="{24729F0F-DC88-2A3D-3F69-812EBA4D5BF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1091966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 err="1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새로고침</a:t>
              </a: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 아이콘 버튼</a:t>
              </a:r>
            </a:p>
          </p:txBody>
        </p:sp>
        <p:sp>
          <p:nvSpPr>
            <p:cNvPr id="16" name="모서리가 둥근 직사각형 84">
              <a:extLst>
                <a:ext uri="{FF2B5EF4-FFF2-40B4-BE49-F238E27FC236}">
                  <a16:creationId xmlns:a16="http://schemas.microsoft.com/office/drawing/2014/main" id="{43630BF3-ABCB-96DD-4046-F2D1F02627A5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3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17" name="TextBox 174">
            <a:extLst>
              <a:ext uri="{FF2B5EF4-FFF2-40B4-BE49-F238E27FC236}">
                <a16:creationId xmlns:a16="http://schemas.microsoft.com/office/drawing/2014/main" id="{7E4DF362-9AE0-B98C-810B-DA3FD29989C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52901" y="3270176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클릭 시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작업 일정 </a:t>
            </a:r>
            <a:r>
              <a:rPr lang="ko-KR" altLang="en-US" sz="900" spc="-150" dirty="0" err="1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새로고침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grpSp>
        <p:nvGrpSpPr>
          <p:cNvPr id="21" name="그룹 20">
            <a:extLst>
              <a:ext uri="{FF2B5EF4-FFF2-40B4-BE49-F238E27FC236}">
                <a16:creationId xmlns:a16="http://schemas.microsoft.com/office/drawing/2014/main" id="{166D558A-D763-2129-2F68-926E96D31990}"/>
              </a:ext>
            </a:extLst>
          </p:cNvPr>
          <p:cNvGrpSpPr/>
          <p:nvPr/>
        </p:nvGrpSpPr>
        <p:grpSpPr>
          <a:xfrm>
            <a:off x="9298103" y="1647761"/>
            <a:ext cx="668361" cy="230832"/>
            <a:chOff x="7316687" y="3282664"/>
            <a:chExt cx="668361" cy="230832"/>
          </a:xfrm>
        </p:grpSpPr>
        <p:sp>
          <p:nvSpPr>
            <p:cNvPr id="23" name="TextBox 174">
              <a:extLst>
                <a:ext uri="{FF2B5EF4-FFF2-40B4-BE49-F238E27FC236}">
                  <a16:creationId xmlns:a16="http://schemas.microsoft.com/office/drawing/2014/main" id="{ECD8D723-3B40-AA63-0CB0-664F1A4BE03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494046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점검 탭</a:t>
              </a:r>
              <a:endPara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  <p:sp>
          <p:nvSpPr>
            <p:cNvPr id="33" name="모서리가 둥근 직사각형 84">
              <a:extLst>
                <a:ext uri="{FF2B5EF4-FFF2-40B4-BE49-F238E27FC236}">
                  <a16:creationId xmlns:a16="http://schemas.microsoft.com/office/drawing/2014/main" id="{608607AC-E76F-633B-74BD-7EAFF89B98E8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1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34" name="TextBox 174">
            <a:extLst>
              <a:ext uri="{FF2B5EF4-FFF2-40B4-BE49-F238E27FC236}">
                <a16:creationId xmlns:a16="http://schemas.microsoft.com/office/drawing/2014/main" id="{48F68EA3-5DDF-460A-E551-40100A72743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58875" y="1868048"/>
            <a:ext cx="2573667" cy="4078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진행 중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완료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grpSp>
        <p:nvGrpSpPr>
          <p:cNvPr id="35" name="그룹 34">
            <a:extLst>
              <a:ext uri="{FF2B5EF4-FFF2-40B4-BE49-F238E27FC236}">
                <a16:creationId xmlns:a16="http://schemas.microsoft.com/office/drawing/2014/main" id="{16D4B586-AFAB-1FAA-ADC8-20A6EE4C9A77}"/>
              </a:ext>
            </a:extLst>
          </p:cNvPr>
          <p:cNvGrpSpPr/>
          <p:nvPr/>
        </p:nvGrpSpPr>
        <p:grpSpPr>
          <a:xfrm>
            <a:off x="9302835" y="2260724"/>
            <a:ext cx="1170100" cy="230832"/>
            <a:chOff x="7316687" y="3282664"/>
            <a:chExt cx="1170100" cy="230832"/>
          </a:xfrm>
        </p:grpSpPr>
        <p:sp>
          <p:nvSpPr>
            <p:cNvPr id="36" name="TextBox 174">
              <a:extLst>
                <a:ext uri="{FF2B5EF4-FFF2-40B4-BE49-F238E27FC236}">
                  <a16:creationId xmlns:a16="http://schemas.microsoft.com/office/drawing/2014/main" id="{28B491E6-62DD-F9FA-1BED-E20E4EE728C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99578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맞춤예약 요청 버튼</a:t>
              </a:r>
            </a:p>
          </p:txBody>
        </p:sp>
        <p:sp>
          <p:nvSpPr>
            <p:cNvPr id="37" name="모서리가 둥근 직사각형 84">
              <a:extLst>
                <a:ext uri="{FF2B5EF4-FFF2-40B4-BE49-F238E27FC236}">
                  <a16:creationId xmlns:a16="http://schemas.microsoft.com/office/drawing/2014/main" id="{97ED3068-291A-329B-6EF4-0578B147E25F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2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38" name="TextBox 174">
            <a:extLst>
              <a:ext uri="{FF2B5EF4-FFF2-40B4-BE49-F238E27FC236}">
                <a16:creationId xmlns:a16="http://schemas.microsoft.com/office/drawing/2014/main" id="{FA057768-D389-EE0E-E1EE-3C2A826CC9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63607" y="2481011"/>
            <a:ext cx="2573667" cy="4078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진행 중인 맞춤예약이 없다면</a:t>
            </a:r>
            <a:r>
              <a:rPr lang="en-US" altLang="ko-Kore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, </a:t>
            </a: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맞춤예약요청 버튼 표출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클릭 시</a:t>
            </a:r>
            <a:r>
              <a:rPr lang="en-US" altLang="ko-Kore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[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맞춤예약 요청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]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화면으로 이동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sp>
        <p:nvSpPr>
          <p:cNvPr id="44" name="모서리가 둥근 직사각형 84">
            <a:extLst>
              <a:ext uri="{FF2B5EF4-FFF2-40B4-BE49-F238E27FC236}">
                <a16:creationId xmlns:a16="http://schemas.microsoft.com/office/drawing/2014/main" id="{8488ED5B-C9EC-318E-B5AF-9669BADE55CF}"/>
              </a:ext>
            </a:extLst>
          </p:cNvPr>
          <p:cNvSpPr/>
          <p:nvPr/>
        </p:nvSpPr>
        <p:spPr>
          <a:xfrm>
            <a:off x="430721" y="2576816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1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45" name="모서리가 둥근 직사각형 84">
            <a:extLst>
              <a:ext uri="{FF2B5EF4-FFF2-40B4-BE49-F238E27FC236}">
                <a16:creationId xmlns:a16="http://schemas.microsoft.com/office/drawing/2014/main" id="{B0EC63C6-E98D-A7EB-62E9-026F6784FE60}"/>
              </a:ext>
            </a:extLst>
          </p:cNvPr>
          <p:cNvSpPr/>
          <p:nvPr/>
        </p:nvSpPr>
        <p:spPr>
          <a:xfrm>
            <a:off x="2063552" y="2923252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3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46" name="모서리가 둥근 직사각형 84">
            <a:extLst>
              <a:ext uri="{FF2B5EF4-FFF2-40B4-BE49-F238E27FC236}">
                <a16:creationId xmlns:a16="http://schemas.microsoft.com/office/drawing/2014/main" id="{A109EE17-9BC2-E1B5-6A11-F0E057199B5C}"/>
              </a:ext>
            </a:extLst>
          </p:cNvPr>
          <p:cNvSpPr/>
          <p:nvPr/>
        </p:nvSpPr>
        <p:spPr>
          <a:xfrm>
            <a:off x="577750" y="3336479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2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47" name="모서리가 둥근 직사각형 84">
            <a:extLst>
              <a:ext uri="{FF2B5EF4-FFF2-40B4-BE49-F238E27FC236}">
                <a16:creationId xmlns:a16="http://schemas.microsoft.com/office/drawing/2014/main" id="{B0068D01-21AF-84F5-BE2C-8151BE2340C1}"/>
              </a:ext>
            </a:extLst>
          </p:cNvPr>
          <p:cNvSpPr/>
          <p:nvPr/>
        </p:nvSpPr>
        <p:spPr>
          <a:xfrm>
            <a:off x="2851922" y="2923251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4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48" name="모서리가 둥근 직사각형 84">
            <a:extLst>
              <a:ext uri="{FF2B5EF4-FFF2-40B4-BE49-F238E27FC236}">
                <a16:creationId xmlns:a16="http://schemas.microsoft.com/office/drawing/2014/main" id="{F5BA6FE2-9EF8-6194-8A23-8A33A3CE100E}"/>
              </a:ext>
            </a:extLst>
          </p:cNvPr>
          <p:cNvSpPr/>
          <p:nvPr/>
        </p:nvSpPr>
        <p:spPr>
          <a:xfrm>
            <a:off x="2825671" y="5373216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5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8322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C5286BA-92CE-41FB-BB05-BE0F5BBA1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맞춤예약</a:t>
            </a:r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B73B35C2-EB8A-4573-B037-7CC6DF06F86A}"/>
              </a:ext>
            </a:extLst>
          </p:cNvPr>
          <p:cNvGrpSpPr/>
          <p:nvPr/>
        </p:nvGrpSpPr>
        <p:grpSpPr>
          <a:xfrm>
            <a:off x="0" y="-3562"/>
            <a:ext cx="9226508" cy="6816938"/>
            <a:chOff x="-1952021" y="-3562"/>
            <a:chExt cx="9226508" cy="6816938"/>
          </a:xfrm>
        </p:grpSpPr>
        <p:cxnSp>
          <p:nvCxnSpPr>
            <p:cNvPr id="6" name="직선 연결선 5">
              <a:extLst>
                <a:ext uri="{FF2B5EF4-FFF2-40B4-BE49-F238E27FC236}">
                  <a16:creationId xmlns:a16="http://schemas.microsoft.com/office/drawing/2014/main" id="{B4C45666-B8F5-4C50-86A6-C4C0BE1D6FE0}"/>
                </a:ext>
              </a:extLst>
            </p:cNvPr>
            <p:cNvCxnSpPr>
              <a:cxnSpLocks/>
            </p:cNvCxnSpPr>
            <p:nvPr/>
          </p:nvCxnSpPr>
          <p:spPr>
            <a:xfrm>
              <a:off x="7257256" y="-3562"/>
              <a:ext cx="0" cy="6816938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직선 연결선 6">
              <a:extLst>
                <a:ext uri="{FF2B5EF4-FFF2-40B4-BE49-F238E27FC236}">
                  <a16:creationId xmlns:a16="http://schemas.microsoft.com/office/drawing/2014/main" id="{4860EB04-C536-404F-98C0-823E8ADC86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1952021" y="1563825"/>
              <a:ext cx="9226508" cy="0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0B76F625-D0A3-4C9E-8D76-BC231976DDDC}"/>
              </a:ext>
            </a:extLst>
          </p:cNvPr>
          <p:cNvGrpSpPr/>
          <p:nvPr/>
        </p:nvGrpSpPr>
        <p:grpSpPr>
          <a:xfrm>
            <a:off x="479376" y="908720"/>
            <a:ext cx="6759312" cy="338554"/>
            <a:chOff x="479376" y="-963488"/>
            <a:chExt cx="6759312" cy="338554"/>
          </a:xfrm>
        </p:grpSpPr>
        <p:sp>
          <p:nvSpPr>
            <p:cNvPr id="9" name="사각형: 둥근 모서리 8">
              <a:extLst>
                <a:ext uri="{FF2B5EF4-FFF2-40B4-BE49-F238E27FC236}">
                  <a16:creationId xmlns:a16="http://schemas.microsoft.com/office/drawing/2014/main" id="{F66EE92C-BEAA-4A28-9FFE-528E99678B1D}"/>
                </a:ext>
              </a:extLst>
            </p:cNvPr>
            <p:cNvSpPr/>
            <p:nvPr/>
          </p:nvSpPr>
          <p:spPr>
            <a:xfrm>
              <a:off x="479376" y="-946863"/>
              <a:ext cx="590358" cy="305304"/>
            </a:xfrm>
            <a:prstGeom prst="roundRect">
              <a:avLst>
                <a:gd name="adj" fmla="val 50000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>
                      <a:alpha val="50000"/>
                    </a:schemeClr>
                  </a:solidFill>
                  <a:latin typeface="+mn-ea"/>
                  <a:cs typeface="Arial" panose="020B0604020202020204" pitchFamily="34" charset="0"/>
                </a:rPr>
                <a:t>0</a:t>
              </a:r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C8869CF-0725-41FD-AE4C-2AF26212AA85}"/>
                </a:ext>
              </a:extLst>
            </p:cNvPr>
            <p:cNvSpPr txBox="1"/>
            <p:nvPr/>
          </p:nvSpPr>
          <p:spPr>
            <a:xfrm>
              <a:off x="1127448" y="-963488"/>
              <a:ext cx="6111240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R="0" indent="0" algn="just" fontAlgn="base" latinLnBrk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 sz="1600" kern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defRPr>
              </a:lvl1pPr>
            </a:lstStyle>
            <a:p>
              <a:r>
                <a:rPr lang="ko-KR" altLang="en-US"/>
                <a:t>맞춤예약 </a:t>
              </a:r>
              <a:r>
                <a:rPr lang="en-US" altLang="ko-KR" dirty="0"/>
                <a:t>– </a:t>
              </a:r>
              <a:r>
                <a:rPr lang="ko-KR" altLang="en-US"/>
                <a:t>맞춤예약 요청</a:t>
              </a:r>
              <a:endParaRPr lang="en-US" altLang="ko-KR" dirty="0"/>
            </a:p>
          </p:txBody>
        </p:sp>
      </p:grpSp>
      <p:pic>
        <p:nvPicPr>
          <p:cNvPr id="12" name="그림 11" descr="텍스트, 스크린샷, 소프트웨어, 폰트이(가) 표시된 사진&#10;&#10;자동 생성된 설명">
            <a:extLst>
              <a:ext uri="{FF2B5EF4-FFF2-40B4-BE49-F238E27FC236}">
                <a16:creationId xmlns:a16="http://schemas.microsoft.com/office/drawing/2014/main" id="{F17ECDE2-962F-FE35-21DB-32E2390DC7AD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597600" y="2062800"/>
            <a:ext cx="2052000" cy="4294800"/>
          </a:xfrm>
          <a:prstGeom prst="rect">
            <a:avLst/>
          </a:prstGeom>
        </p:spPr>
      </p:pic>
      <p:pic>
        <p:nvPicPr>
          <p:cNvPr id="25" name="그림 24" descr="텍스트, 스크린샷, 소프트웨어이(가) 표시된 사진&#10;&#10;자동 생성된 설명">
            <a:extLst>
              <a:ext uri="{FF2B5EF4-FFF2-40B4-BE49-F238E27FC236}">
                <a16:creationId xmlns:a16="http://schemas.microsoft.com/office/drawing/2014/main" id="{A4B54451-9D2C-40CE-C3AB-3892788290B5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2880000" y="2062800"/>
            <a:ext cx="2052000" cy="4294800"/>
          </a:xfrm>
          <a:prstGeom prst="rect">
            <a:avLst/>
          </a:prstGeom>
        </p:spPr>
      </p:pic>
      <p:sp>
        <p:nvSpPr>
          <p:cNvPr id="26" name="모서리가 둥근 직사각형 84">
            <a:extLst>
              <a:ext uri="{FF2B5EF4-FFF2-40B4-BE49-F238E27FC236}">
                <a16:creationId xmlns:a16="http://schemas.microsoft.com/office/drawing/2014/main" id="{9897CDAF-2D24-3A42-AB30-630DB7586B7B}"/>
              </a:ext>
            </a:extLst>
          </p:cNvPr>
          <p:cNvSpPr/>
          <p:nvPr/>
        </p:nvSpPr>
        <p:spPr>
          <a:xfrm>
            <a:off x="485466" y="2641175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1</a:t>
            </a:r>
            <a:endParaRPr lang="ko-KR" altLang="en-US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27" name="모서리가 둥근 직사각형 84">
            <a:extLst>
              <a:ext uri="{FF2B5EF4-FFF2-40B4-BE49-F238E27FC236}">
                <a16:creationId xmlns:a16="http://schemas.microsoft.com/office/drawing/2014/main" id="{F53B6615-A4D3-ACD2-7914-F91404AE711E}"/>
              </a:ext>
            </a:extLst>
          </p:cNvPr>
          <p:cNvSpPr/>
          <p:nvPr/>
        </p:nvSpPr>
        <p:spPr>
          <a:xfrm>
            <a:off x="1911425" y="2651720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2</a:t>
            </a:r>
            <a:endParaRPr lang="ko-KR" altLang="en-US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28" name="모서리가 둥근 직사각형 84">
            <a:extLst>
              <a:ext uri="{FF2B5EF4-FFF2-40B4-BE49-F238E27FC236}">
                <a16:creationId xmlns:a16="http://schemas.microsoft.com/office/drawing/2014/main" id="{9A74DBCB-AF77-EDCF-FB08-FCAB55E2D0B7}"/>
              </a:ext>
            </a:extLst>
          </p:cNvPr>
          <p:cNvSpPr/>
          <p:nvPr/>
        </p:nvSpPr>
        <p:spPr>
          <a:xfrm>
            <a:off x="2754863" y="3394324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3</a:t>
            </a:r>
            <a:endParaRPr lang="ko-KR" altLang="en-US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29" name="모서리가 둥근 직사각형 84">
            <a:extLst>
              <a:ext uri="{FF2B5EF4-FFF2-40B4-BE49-F238E27FC236}">
                <a16:creationId xmlns:a16="http://schemas.microsoft.com/office/drawing/2014/main" id="{F1B2872F-2975-2D3F-A3F6-AB654C0809C3}"/>
              </a:ext>
            </a:extLst>
          </p:cNvPr>
          <p:cNvSpPr/>
          <p:nvPr/>
        </p:nvSpPr>
        <p:spPr>
          <a:xfrm>
            <a:off x="4295800" y="3144805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4</a:t>
            </a:r>
            <a:endParaRPr lang="ko-KR" altLang="en-US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30" name="모서리가 둥근 직사각형 84">
            <a:extLst>
              <a:ext uri="{FF2B5EF4-FFF2-40B4-BE49-F238E27FC236}">
                <a16:creationId xmlns:a16="http://schemas.microsoft.com/office/drawing/2014/main" id="{334763C9-4ECE-E937-A2CD-539C81BC6076}"/>
              </a:ext>
            </a:extLst>
          </p:cNvPr>
          <p:cNvSpPr/>
          <p:nvPr/>
        </p:nvSpPr>
        <p:spPr>
          <a:xfrm>
            <a:off x="511975" y="4151812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6</a:t>
            </a:r>
            <a:endParaRPr lang="ko-KR" altLang="en-US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31" name="모서리가 둥근 직사각형 84">
            <a:extLst>
              <a:ext uri="{FF2B5EF4-FFF2-40B4-BE49-F238E27FC236}">
                <a16:creationId xmlns:a16="http://schemas.microsoft.com/office/drawing/2014/main" id="{09EB0030-3591-A68F-D22C-0EBA134CF67B}"/>
              </a:ext>
            </a:extLst>
          </p:cNvPr>
          <p:cNvSpPr/>
          <p:nvPr/>
        </p:nvSpPr>
        <p:spPr>
          <a:xfrm>
            <a:off x="4327077" y="3612511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5</a:t>
            </a:r>
            <a:endParaRPr lang="ko-KR" altLang="en-US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grpSp>
        <p:nvGrpSpPr>
          <p:cNvPr id="32" name="그룹 31">
            <a:extLst>
              <a:ext uri="{FF2B5EF4-FFF2-40B4-BE49-F238E27FC236}">
                <a16:creationId xmlns:a16="http://schemas.microsoft.com/office/drawing/2014/main" id="{4434979E-F8A6-BD5C-6FA2-C705CEC298B1}"/>
              </a:ext>
            </a:extLst>
          </p:cNvPr>
          <p:cNvGrpSpPr/>
          <p:nvPr/>
        </p:nvGrpSpPr>
        <p:grpSpPr>
          <a:xfrm>
            <a:off x="9312000" y="5465987"/>
            <a:ext cx="956902" cy="230832"/>
            <a:chOff x="7316687" y="3282664"/>
            <a:chExt cx="956902" cy="230832"/>
          </a:xfrm>
        </p:grpSpPr>
        <p:sp>
          <p:nvSpPr>
            <p:cNvPr id="33" name="TextBox 174">
              <a:extLst>
                <a:ext uri="{FF2B5EF4-FFF2-40B4-BE49-F238E27FC236}">
                  <a16:creationId xmlns:a16="http://schemas.microsoft.com/office/drawing/2014/main" id="{A6CEE603-D755-78DC-A031-6532104F0AC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782587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요청하기 버튼</a:t>
              </a:r>
              <a:endPara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  <p:sp>
          <p:nvSpPr>
            <p:cNvPr id="34" name="모서리가 둥근 직사각형 84">
              <a:extLst>
                <a:ext uri="{FF2B5EF4-FFF2-40B4-BE49-F238E27FC236}">
                  <a16:creationId xmlns:a16="http://schemas.microsoft.com/office/drawing/2014/main" id="{ED8CC83A-F031-7BDB-12B5-9B4D7859EA26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7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35" name="TextBox 174">
            <a:extLst>
              <a:ext uri="{FF2B5EF4-FFF2-40B4-BE49-F238E27FC236}">
                <a16:creationId xmlns:a16="http://schemas.microsoft.com/office/drawing/2014/main" id="{CE7E29BB-99C8-3C06-13E2-7F16981A4BE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60495" y="5723964"/>
            <a:ext cx="257366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클릭 시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선택한 선택한 정보를 바탕으로 맞춤배달 요청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grpSp>
        <p:nvGrpSpPr>
          <p:cNvPr id="36" name="그룹 35">
            <a:extLst>
              <a:ext uri="{FF2B5EF4-FFF2-40B4-BE49-F238E27FC236}">
                <a16:creationId xmlns:a16="http://schemas.microsoft.com/office/drawing/2014/main" id="{FAABB69C-8545-88F7-EDD1-CD04E04FB9C0}"/>
              </a:ext>
            </a:extLst>
          </p:cNvPr>
          <p:cNvGrpSpPr/>
          <p:nvPr/>
        </p:nvGrpSpPr>
        <p:grpSpPr>
          <a:xfrm>
            <a:off x="9292129" y="2983978"/>
            <a:ext cx="1073920" cy="230832"/>
            <a:chOff x="7316687" y="3282664"/>
            <a:chExt cx="1073920" cy="230832"/>
          </a:xfrm>
        </p:grpSpPr>
        <p:sp>
          <p:nvSpPr>
            <p:cNvPr id="37" name="TextBox 174">
              <a:extLst>
                <a:ext uri="{FF2B5EF4-FFF2-40B4-BE49-F238E27FC236}">
                  <a16:creationId xmlns:a16="http://schemas.microsoft.com/office/drawing/2014/main" id="{4531D9B3-8683-51E8-A92C-AD02221BB16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89960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처방전 선택 시트</a:t>
              </a:r>
            </a:p>
          </p:txBody>
        </p:sp>
        <p:sp>
          <p:nvSpPr>
            <p:cNvPr id="38" name="모서리가 둥근 직사각형 84">
              <a:extLst>
                <a:ext uri="{FF2B5EF4-FFF2-40B4-BE49-F238E27FC236}">
                  <a16:creationId xmlns:a16="http://schemas.microsoft.com/office/drawing/2014/main" id="{D02A9D85-3AF3-308B-468F-2D5CA1CE5658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3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39" name="TextBox 174">
            <a:extLst>
              <a:ext uri="{FF2B5EF4-FFF2-40B4-BE49-F238E27FC236}">
                <a16:creationId xmlns:a16="http://schemas.microsoft.com/office/drawing/2014/main" id="{59D6B7F6-00CA-5191-3135-21936D9C1C8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52901" y="3204265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복수의 처방전 선택 가능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grpSp>
        <p:nvGrpSpPr>
          <p:cNvPr id="40" name="그룹 39">
            <a:extLst>
              <a:ext uri="{FF2B5EF4-FFF2-40B4-BE49-F238E27FC236}">
                <a16:creationId xmlns:a16="http://schemas.microsoft.com/office/drawing/2014/main" id="{F2631EEF-7D45-22AD-FF1D-8B435EB33EE1}"/>
              </a:ext>
            </a:extLst>
          </p:cNvPr>
          <p:cNvGrpSpPr/>
          <p:nvPr/>
        </p:nvGrpSpPr>
        <p:grpSpPr>
          <a:xfrm>
            <a:off x="9298103" y="1647761"/>
            <a:ext cx="1073920" cy="230832"/>
            <a:chOff x="7316687" y="3282664"/>
            <a:chExt cx="1073920" cy="230832"/>
          </a:xfrm>
        </p:grpSpPr>
        <p:sp>
          <p:nvSpPr>
            <p:cNvPr id="41" name="TextBox 174">
              <a:extLst>
                <a:ext uri="{FF2B5EF4-FFF2-40B4-BE49-F238E27FC236}">
                  <a16:creationId xmlns:a16="http://schemas.microsoft.com/office/drawing/2014/main" id="{9E8A3AA1-A7CD-368C-C4BD-9CC17213661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89960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처방전 선택 목록</a:t>
              </a:r>
            </a:p>
          </p:txBody>
        </p:sp>
        <p:sp>
          <p:nvSpPr>
            <p:cNvPr id="42" name="모서리가 둥근 직사각형 84">
              <a:extLst>
                <a:ext uri="{FF2B5EF4-FFF2-40B4-BE49-F238E27FC236}">
                  <a16:creationId xmlns:a16="http://schemas.microsoft.com/office/drawing/2014/main" id="{248C7270-E8E3-93D4-8058-81CDC5AFA071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1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43" name="TextBox 174">
            <a:extLst>
              <a:ext uri="{FF2B5EF4-FFF2-40B4-BE49-F238E27FC236}">
                <a16:creationId xmlns:a16="http://schemas.microsoft.com/office/drawing/2014/main" id="{78F5BE60-C9D3-C1A4-15B0-E946093E699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58875" y="1868048"/>
            <a:ext cx="2573667" cy="4078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선택된 처방전 목록 표출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스와이프 시 선택 취소 버튼 표출</a:t>
            </a:r>
            <a:r>
              <a:rPr lang="en-US" altLang="ko-Kore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클릭 시 선택 취소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grpSp>
        <p:nvGrpSpPr>
          <p:cNvPr id="44" name="그룹 43">
            <a:extLst>
              <a:ext uri="{FF2B5EF4-FFF2-40B4-BE49-F238E27FC236}">
                <a16:creationId xmlns:a16="http://schemas.microsoft.com/office/drawing/2014/main" id="{C7FD8A85-26D5-6AC9-DAC7-0ECF7C1CDB0E}"/>
              </a:ext>
            </a:extLst>
          </p:cNvPr>
          <p:cNvGrpSpPr/>
          <p:nvPr/>
        </p:nvGrpSpPr>
        <p:grpSpPr>
          <a:xfrm>
            <a:off x="9302835" y="2420888"/>
            <a:ext cx="764541" cy="230832"/>
            <a:chOff x="7316687" y="3282664"/>
            <a:chExt cx="764541" cy="230832"/>
          </a:xfrm>
        </p:grpSpPr>
        <p:sp>
          <p:nvSpPr>
            <p:cNvPr id="45" name="TextBox 174">
              <a:extLst>
                <a:ext uri="{FF2B5EF4-FFF2-40B4-BE49-F238E27FC236}">
                  <a16:creationId xmlns:a16="http://schemas.microsoft.com/office/drawing/2014/main" id="{AF57F56E-BB2F-022D-F061-0D4391AB0CD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590226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선택 버튼</a:t>
              </a:r>
            </a:p>
          </p:txBody>
        </p:sp>
        <p:sp>
          <p:nvSpPr>
            <p:cNvPr id="46" name="모서리가 둥근 직사각형 84">
              <a:extLst>
                <a:ext uri="{FF2B5EF4-FFF2-40B4-BE49-F238E27FC236}">
                  <a16:creationId xmlns:a16="http://schemas.microsoft.com/office/drawing/2014/main" id="{9100B0FD-5599-5CE7-BBA3-D3ED9082DE5B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2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47" name="TextBox 174">
            <a:extLst>
              <a:ext uri="{FF2B5EF4-FFF2-40B4-BE49-F238E27FC236}">
                <a16:creationId xmlns:a16="http://schemas.microsoft.com/office/drawing/2014/main" id="{50636916-3163-3641-055D-0098476A89B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63607" y="2641175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클릭 시 처방전 선택 시트  표출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grpSp>
        <p:nvGrpSpPr>
          <p:cNvPr id="48" name="그룹 47">
            <a:extLst>
              <a:ext uri="{FF2B5EF4-FFF2-40B4-BE49-F238E27FC236}">
                <a16:creationId xmlns:a16="http://schemas.microsoft.com/office/drawing/2014/main" id="{27056A25-BE4A-A650-5D7E-934502DE008C}"/>
              </a:ext>
            </a:extLst>
          </p:cNvPr>
          <p:cNvGrpSpPr/>
          <p:nvPr/>
        </p:nvGrpSpPr>
        <p:grpSpPr>
          <a:xfrm>
            <a:off x="9299069" y="3465623"/>
            <a:ext cx="1073920" cy="230832"/>
            <a:chOff x="7316687" y="3282664"/>
            <a:chExt cx="1073920" cy="230832"/>
          </a:xfrm>
        </p:grpSpPr>
        <p:sp>
          <p:nvSpPr>
            <p:cNvPr id="49" name="TextBox 174">
              <a:extLst>
                <a:ext uri="{FF2B5EF4-FFF2-40B4-BE49-F238E27FC236}">
                  <a16:creationId xmlns:a16="http://schemas.microsoft.com/office/drawing/2014/main" id="{504CDB81-2E32-ABCB-535A-59A8A60B7EC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89960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선택 초기화 버튼</a:t>
              </a:r>
              <a:endPara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  <p:sp>
          <p:nvSpPr>
            <p:cNvPr id="50" name="모서리가 둥근 직사각형 84">
              <a:extLst>
                <a:ext uri="{FF2B5EF4-FFF2-40B4-BE49-F238E27FC236}">
                  <a16:creationId xmlns:a16="http://schemas.microsoft.com/office/drawing/2014/main" id="{C7823F52-FC57-918B-CBDA-4E11935480E1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4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51" name="TextBox 174">
            <a:extLst>
              <a:ext uri="{FF2B5EF4-FFF2-40B4-BE49-F238E27FC236}">
                <a16:creationId xmlns:a16="http://schemas.microsoft.com/office/drawing/2014/main" id="{23E8CB59-4363-A0C1-C93E-CD6D4569839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66048" y="3705032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클릭 시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,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선택된 처방전 초기화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grpSp>
        <p:nvGrpSpPr>
          <p:cNvPr id="52" name="그룹 51">
            <a:extLst>
              <a:ext uri="{FF2B5EF4-FFF2-40B4-BE49-F238E27FC236}">
                <a16:creationId xmlns:a16="http://schemas.microsoft.com/office/drawing/2014/main" id="{C8F1AC6C-EAC7-3F9F-9A12-D9DF2588528E}"/>
              </a:ext>
            </a:extLst>
          </p:cNvPr>
          <p:cNvGrpSpPr/>
          <p:nvPr/>
        </p:nvGrpSpPr>
        <p:grpSpPr>
          <a:xfrm>
            <a:off x="9294903" y="4005064"/>
            <a:ext cx="1596499" cy="230832"/>
            <a:chOff x="7316687" y="3338030"/>
            <a:chExt cx="1596499" cy="230832"/>
          </a:xfrm>
        </p:grpSpPr>
        <p:sp>
          <p:nvSpPr>
            <p:cNvPr id="53" name="TextBox 174">
              <a:extLst>
                <a:ext uri="{FF2B5EF4-FFF2-40B4-BE49-F238E27FC236}">
                  <a16:creationId xmlns:a16="http://schemas.microsoft.com/office/drawing/2014/main" id="{45101623-283C-9046-5E9B-60FD8CB8505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338030"/>
              <a:ext cx="1422184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처방전 상세 시트 표출 아이콘</a:t>
              </a:r>
              <a:endPara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  <p:sp>
          <p:nvSpPr>
            <p:cNvPr id="54" name="모서리가 둥근 직사각형 84">
              <a:extLst>
                <a:ext uri="{FF2B5EF4-FFF2-40B4-BE49-F238E27FC236}">
                  <a16:creationId xmlns:a16="http://schemas.microsoft.com/office/drawing/2014/main" id="{2A5C43D6-B60B-386E-7F9A-E73CC490D77B}"/>
                </a:ext>
              </a:extLst>
            </p:cNvPr>
            <p:cNvSpPr/>
            <p:nvPr/>
          </p:nvSpPr>
          <p:spPr>
            <a:xfrm>
              <a:off x="7316687" y="3373276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5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55" name="TextBox 174">
            <a:extLst>
              <a:ext uri="{FF2B5EF4-FFF2-40B4-BE49-F238E27FC236}">
                <a16:creationId xmlns:a16="http://schemas.microsoft.com/office/drawing/2014/main" id="{5C620CDC-B5BE-635D-D5F2-708BE7C7E42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52898" y="4205081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클릭 시</a:t>
            </a:r>
            <a:r>
              <a:rPr lang="en-US" altLang="ko-Kore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 </a:t>
            </a: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해당 시트가 처방전 상세 시트로 변경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</p:txBody>
      </p:sp>
      <p:sp>
        <p:nvSpPr>
          <p:cNvPr id="56" name="모서리가 둥근 직사각형 84">
            <a:extLst>
              <a:ext uri="{FF2B5EF4-FFF2-40B4-BE49-F238E27FC236}">
                <a16:creationId xmlns:a16="http://schemas.microsoft.com/office/drawing/2014/main" id="{D84CF175-00A2-5DFE-3019-4FE71B6EE01F}"/>
              </a:ext>
            </a:extLst>
          </p:cNvPr>
          <p:cNvSpPr/>
          <p:nvPr/>
        </p:nvSpPr>
        <p:spPr>
          <a:xfrm>
            <a:off x="550179" y="5932655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7</a:t>
            </a:r>
            <a:endParaRPr lang="ko-KR" altLang="en-US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grpSp>
        <p:nvGrpSpPr>
          <p:cNvPr id="57" name="그룹 56">
            <a:extLst>
              <a:ext uri="{FF2B5EF4-FFF2-40B4-BE49-F238E27FC236}">
                <a16:creationId xmlns:a16="http://schemas.microsoft.com/office/drawing/2014/main" id="{D5DE73CA-C7D0-6B55-EFC1-D41EE9693E00}"/>
              </a:ext>
            </a:extLst>
          </p:cNvPr>
          <p:cNvGrpSpPr/>
          <p:nvPr/>
        </p:nvGrpSpPr>
        <p:grpSpPr>
          <a:xfrm>
            <a:off x="9292129" y="4496146"/>
            <a:ext cx="1073920" cy="230832"/>
            <a:chOff x="7316687" y="3282664"/>
            <a:chExt cx="1073920" cy="230832"/>
          </a:xfrm>
        </p:grpSpPr>
        <p:sp>
          <p:nvSpPr>
            <p:cNvPr id="58" name="TextBox 174">
              <a:extLst>
                <a:ext uri="{FF2B5EF4-FFF2-40B4-BE49-F238E27FC236}">
                  <a16:creationId xmlns:a16="http://schemas.microsoft.com/office/drawing/2014/main" id="{4C39C1A2-D19B-3AD2-774E-5BDE8340A46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89960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서비스 기관 선택</a:t>
              </a:r>
            </a:p>
          </p:txBody>
        </p:sp>
        <p:sp>
          <p:nvSpPr>
            <p:cNvPr id="59" name="모서리가 둥근 직사각형 84">
              <a:extLst>
                <a:ext uri="{FF2B5EF4-FFF2-40B4-BE49-F238E27FC236}">
                  <a16:creationId xmlns:a16="http://schemas.microsoft.com/office/drawing/2014/main" id="{AD07389C-8304-77DA-C5AD-A7D00019ECE6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6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60" name="TextBox 174">
            <a:extLst>
              <a:ext uri="{FF2B5EF4-FFF2-40B4-BE49-F238E27FC236}">
                <a16:creationId xmlns:a16="http://schemas.microsoft.com/office/drawing/2014/main" id="{EC6C43D3-6009-FBD4-D8AA-97B21AC0D27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52901" y="4716433"/>
            <a:ext cx="2573667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재활공학연구소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알스텝</a:t>
            </a:r>
            <a:endParaRPr lang="en-US" altLang="ko-Kore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함길수제화 </a:t>
            </a:r>
            <a:r>
              <a:rPr lang="en-US" altLang="ko-Kore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&amp; </a:t>
            </a:r>
            <a:r>
              <a:rPr lang="ko-Kore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의지보조기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7747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 descr="텍스트, 스크린샷, 소프트웨어, 번호이(가) 표시된 사진&#10;&#10;자동 생성된 설명">
            <a:extLst>
              <a:ext uri="{FF2B5EF4-FFF2-40B4-BE49-F238E27FC236}">
                <a16:creationId xmlns:a16="http://schemas.microsoft.com/office/drawing/2014/main" id="{307C2E53-DEE2-7454-E763-7E19D8ABFA87}"/>
              </a:ext>
            </a:extLst>
          </p:cNvPr>
          <p:cNvPicPr>
            <a:picLocks/>
          </p:cNvPicPr>
          <p:nvPr/>
        </p:nvPicPr>
        <p:blipFill rotWithShape="1">
          <a:blip r:embed="rId3"/>
          <a:srcRect b="6260"/>
          <a:stretch/>
        </p:blipFill>
        <p:spPr>
          <a:xfrm>
            <a:off x="597600" y="2062801"/>
            <a:ext cx="2052000" cy="4031999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31" name="그림 30" descr="텍스트, 소프트웨어, 폰트, 스크린샷이(가) 표시된 사진&#10;&#10;자동 생성된 설명">
            <a:extLst>
              <a:ext uri="{FF2B5EF4-FFF2-40B4-BE49-F238E27FC236}">
                <a16:creationId xmlns:a16="http://schemas.microsoft.com/office/drawing/2014/main" id="{BB89E4A2-EB75-018F-371C-588946A9C24B}"/>
              </a:ext>
            </a:extLst>
          </p:cNvPr>
          <p:cNvPicPr>
            <a:picLocks/>
          </p:cNvPicPr>
          <p:nvPr/>
        </p:nvPicPr>
        <p:blipFill rotWithShape="1">
          <a:blip r:embed="rId4"/>
          <a:srcRect b="6154"/>
          <a:stretch/>
        </p:blipFill>
        <p:spPr>
          <a:xfrm>
            <a:off x="2880000" y="2062800"/>
            <a:ext cx="2052000" cy="4031999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2" name="제목 1">
            <a:extLst>
              <a:ext uri="{FF2B5EF4-FFF2-40B4-BE49-F238E27FC236}">
                <a16:creationId xmlns:a16="http://schemas.microsoft.com/office/drawing/2014/main" id="{0C5286BA-92CE-41FB-BB05-BE0F5BBA1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맞춤예약</a:t>
            </a:r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B73B35C2-EB8A-4573-B037-7CC6DF06F86A}"/>
              </a:ext>
            </a:extLst>
          </p:cNvPr>
          <p:cNvGrpSpPr/>
          <p:nvPr/>
        </p:nvGrpSpPr>
        <p:grpSpPr>
          <a:xfrm>
            <a:off x="0" y="-3562"/>
            <a:ext cx="9226508" cy="6816938"/>
            <a:chOff x="-1952021" y="-3562"/>
            <a:chExt cx="9226508" cy="6816938"/>
          </a:xfrm>
        </p:grpSpPr>
        <p:cxnSp>
          <p:nvCxnSpPr>
            <p:cNvPr id="6" name="직선 연결선 5">
              <a:extLst>
                <a:ext uri="{FF2B5EF4-FFF2-40B4-BE49-F238E27FC236}">
                  <a16:creationId xmlns:a16="http://schemas.microsoft.com/office/drawing/2014/main" id="{B4C45666-B8F5-4C50-86A6-C4C0BE1D6FE0}"/>
                </a:ext>
              </a:extLst>
            </p:cNvPr>
            <p:cNvCxnSpPr>
              <a:cxnSpLocks/>
            </p:cNvCxnSpPr>
            <p:nvPr/>
          </p:nvCxnSpPr>
          <p:spPr>
            <a:xfrm>
              <a:off x="7257256" y="-3562"/>
              <a:ext cx="0" cy="6816938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직선 연결선 6">
              <a:extLst>
                <a:ext uri="{FF2B5EF4-FFF2-40B4-BE49-F238E27FC236}">
                  <a16:creationId xmlns:a16="http://schemas.microsoft.com/office/drawing/2014/main" id="{4860EB04-C536-404F-98C0-823E8ADC86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1952021" y="1563825"/>
              <a:ext cx="9226508" cy="0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0B76F625-D0A3-4C9E-8D76-BC231976DDDC}"/>
              </a:ext>
            </a:extLst>
          </p:cNvPr>
          <p:cNvGrpSpPr/>
          <p:nvPr/>
        </p:nvGrpSpPr>
        <p:grpSpPr>
          <a:xfrm>
            <a:off x="479376" y="908720"/>
            <a:ext cx="6759312" cy="338554"/>
            <a:chOff x="479376" y="-963488"/>
            <a:chExt cx="6759312" cy="338554"/>
          </a:xfrm>
        </p:grpSpPr>
        <p:sp>
          <p:nvSpPr>
            <p:cNvPr id="9" name="사각형: 둥근 모서리 8">
              <a:extLst>
                <a:ext uri="{FF2B5EF4-FFF2-40B4-BE49-F238E27FC236}">
                  <a16:creationId xmlns:a16="http://schemas.microsoft.com/office/drawing/2014/main" id="{F66EE92C-BEAA-4A28-9FFE-528E99678B1D}"/>
                </a:ext>
              </a:extLst>
            </p:cNvPr>
            <p:cNvSpPr/>
            <p:nvPr/>
          </p:nvSpPr>
          <p:spPr>
            <a:xfrm>
              <a:off x="479376" y="-946863"/>
              <a:ext cx="590358" cy="305304"/>
            </a:xfrm>
            <a:prstGeom prst="roundRect">
              <a:avLst>
                <a:gd name="adj" fmla="val 50000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>
                      <a:alpha val="50000"/>
                    </a:schemeClr>
                  </a:solidFill>
                  <a:latin typeface="+mn-ea"/>
                  <a:cs typeface="Arial" panose="020B0604020202020204" pitchFamily="34" charset="0"/>
                </a:rPr>
                <a:t>0</a:t>
              </a:r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C8869CF-0725-41FD-AE4C-2AF26212AA85}"/>
                </a:ext>
              </a:extLst>
            </p:cNvPr>
            <p:cNvSpPr txBox="1"/>
            <p:nvPr/>
          </p:nvSpPr>
          <p:spPr>
            <a:xfrm>
              <a:off x="1127448" y="-963488"/>
              <a:ext cx="6111240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R="0" indent="0" algn="just" fontAlgn="base" latinLnBrk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 sz="1600" kern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defRPr>
              </a:lvl1pPr>
            </a:lstStyle>
            <a:p>
              <a:r>
                <a:rPr lang="ko-KR" altLang="en-US"/>
                <a:t>맞춤예약 </a:t>
              </a:r>
              <a:r>
                <a:rPr lang="en-US" altLang="ko-KR" dirty="0"/>
                <a:t>– </a:t>
              </a:r>
              <a:r>
                <a:rPr lang="ko-KR" altLang="en-US"/>
                <a:t>맞춤예약 확정</a:t>
              </a:r>
              <a:endParaRPr lang="en-US" altLang="ko-KR" dirty="0"/>
            </a:p>
          </p:txBody>
        </p:sp>
      </p:grpSp>
      <p:sp>
        <p:nvSpPr>
          <p:cNvPr id="15" name="모서리가 둥근 직사각형 84">
            <a:extLst>
              <a:ext uri="{FF2B5EF4-FFF2-40B4-BE49-F238E27FC236}">
                <a16:creationId xmlns:a16="http://schemas.microsoft.com/office/drawing/2014/main" id="{FF080657-27BA-441F-81E8-D670EBD17378}"/>
              </a:ext>
            </a:extLst>
          </p:cNvPr>
          <p:cNvSpPr/>
          <p:nvPr/>
        </p:nvSpPr>
        <p:spPr>
          <a:xfrm>
            <a:off x="554983" y="3067074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1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16" name="모서리가 둥근 직사각형 84">
            <a:extLst>
              <a:ext uri="{FF2B5EF4-FFF2-40B4-BE49-F238E27FC236}">
                <a16:creationId xmlns:a16="http://schemas.microsoft.com/office/drawing/2014/main" id="{77C9E7A2-5ADA-4DB7-BC13-E888A82D1CBE}"/>
              </a:ext>
            </a:extLst>
          </p:cNvPr>
          <p:cNvSpPr/>
          <p:nvPr/>
        </p:nvSpPr>
        <p:spPr>
          <a:xfrm>
            <a:off x="752121" y="5247827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2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17" name="모서리가 둥근 직사각형 84">
            <a:extLst>
              <a:ext uri="{FF2B5EF4-FFF2-40B4-BE49-F238E27FC236}">
                <a16:creationId xmlns:a16="http://schemas.microsoft.com/office/drawing/2014/main" id="{AE8F3D73-AAA8-4C27-97E7-836A81D7BD75}"/>
              </a:ext>
            </a:extLst>
          </p:cNvPr>
          <p:cNvSpPr/>
          <p:nvPr/>
        </p:nvSpPr>
        <p:spPr>
          <a:xfrm>
            <a:off x="1624769" y="5242048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3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grpSp>
        <p:nvGrpSpPr>
          <p:cNvPr id="18" name="그룹 17">
            <a:extLst>
              <a:ext uri="{FF2B5EF4-FFF2-40B4-BE49-F238E27FC236}">
                <a16:creationId xmlns:a16="http://schemas.microsoft.com/office/drawing/2014/main" id="{830B3BE2-0086-45CA-9EE9-4BE62533EEDE}"/>
              </a:ext>
            </a:extLst>
          </p:cNvPr>
          <p:cNvGrpSpPr/>
          <p:nvPr/>
        </p:nvGrpSpPr>
        <p:grpSpPr>
          <a:xfrm>
            <a:off x="9286207" y="1772816"/>
            <a:ext cx="1383300" cy="230832"/>
            <a:chOff x="7316687" y="3282664"/>
            <a:chExt cx="1383300" cy="230832"/>
          </a:xfrm>
        </p:grpSpPr>
        <p:sp>
          <p:nvSpPr>
            <p:cNvPr id="19" name="TextBox 174">
              <a:extLst>
                <a:ext uri="{FF2B5EF4-FFF2-40B4-BE49-F238E27FC236}">
                  <a16:creationId xmlns:a16="http://schemas.microsoft.com/office/drawing/2014/main" id="{8CF501B5-4241-48D7-8278-6344FFBCAFB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120898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방문 예약일자 확정 팝업</a:t>
              </a:r>
            </a:p>
          </p:txBody>
        </p:sp>
        <p:sp>
          <p:nvSpPr>
            <p:cNvPr id="20" name="모서리가 둥근 직사각형 84">
              <a:extLst>
                <a:ext uri="{FF2B5EF4-FFF2-40B4-BE49-F238E27FC236}">
                  <a16:creationId xmlns:a16="http://schemas.microsoft.com/office/drawing/2014/main" id="{56401713-5266-4FD2-B5E0-D4F6133C5D8C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1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1" name="TextBox 174">
            <a:extLst>
              <a:ext uri="{FF2B5EF4-FFF2-40B4-BE49-F238E27FC236}">
                <a16:creationId xmlns:a16="http://schemas.microsoft.com/office/drawing/2014/main" id="{16977289-8E88-45BB-AC4C-0E9B4B87B1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46979" y="1993103"/>
            <a:ext cx="2573667" cy="13542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예약가능 일정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(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파란색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)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내에서 연구소를 방문하려는 일자 선택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파란색 마크는 오전만 가능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, 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주황색 마크는 오후만 가능한 일자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마크가 없으면 종일 가능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범위에 있어도 날짜가 회색이면 해당 일자는 예약 불가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grpSp>
        <p:nvGrpSpPr>
          <p:cNvPr id="22" name="그룹 21">
            <a:extLst>
              <a:ext uri="{FF2B5EF4-FFF2-40B4-BE49-F238E27FC236}">
                <a16:creationId xmlns:a16="http://schemas.microsoft.com/office/drawing/2014/main" id="{F470DC13-F771-45C2-91ED-D853D2C56BA1}"/>
              </a:ext>
            </a:extLst>
          </p:cNvPr>
          <p:cNvGrpSpPr/>
          <p:nvPr/>
        </p:nvGrpSpPr>
        <p:grpSpPr>
          <a:xfrm>
            <a:off x="9286207" y="3852812"/>
            <a:ext cx="956902" cy="230832"/>
            <a:chOff x="7316687" y="3282664"/>
            <a:chExt cx="956902" cy="230832"/>
          </a:xfrm>
        </p:grpSpPr>
        <p:sp>
          <p:nvSpPr>
            <p:cNvPr id="23" name="TextBox 174">
              <a:extLst>
                <a:ext uri="{FF2B5EF4-FFF2-40B4-BE49-F238E27FC236}">
                  <a16:creationId xmlns:a16="http://schemas.microsoft.com/office/drawing/2014/main" id="{C4C4F679-F09A-441F-818E-FBD158D0AE8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782587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선택</a:t>
              </a: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하기 버튼</a:t>
              </a:r>
            </a:p>
          </p:txBody>
        </p:sp>
        <p:sp>
          <p:nvSpPr>
            <p:cNvPr id="24" name="모서리가 둥근 직사각형 84">
              <a:extLst>
                <a:ext uri="{FF2B5EF4-FFF2-40B4-BE49-F238E27FC236}">
                  <a16:creationId xmlns:a16="http://schemas.microsoft.com/office/drawing/2014/main" id="{F3502135-C808-4C5A-BDB6-622119E18A09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3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5" name="TextBox 174">
            <a:extLst>
              <a:ext uri="{FF2B5EF4-FFF2-40B4-BE49-F238E27FC236}">
                <a16:creationId xmlns:a16="http://schemas.microsoft.com/office/drawing/2014/main" id="{8D16981A-8E92-4792-ACAF-692C70E926F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46979" y="4073099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클릭 시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 방문일자 확정 재확인 팝업으로 변경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grpSp>
        <p:nvGrpSpPr>
          <p:cNvPr id="26" name="그룹 25">
            <a:extLst>
              <a:ext uri="{FF2B5EF4-FFF2-40B4-BE49-F238E27FC236}">
                <a16:creationId xmlns:a16="http://schemas.microsoft.com/office/drawing/2014/main" id="{0F101A8D-E1CD-4B9A-B35C-36D02E0A28F9}"/>
              </a:ext>
            </a:extLst>
          </p:cNvPr>
          <p:cNvGrpSpPr/>
          <p:nvPr/>
        </p:nvGrpSpPr>
        <p:grpSpPr>
          <a:xfrm>
            <a:off x="9279197" y="3212976"/>
            <a:ext cx="764541" cy="230832"/>
            <a:chOff x="7316687" y="3282664"/>
            <a:chExt cx="764541" cy="230832"/>
          </a:xfrm>
        </p:grpSpPr>
        <p:sp>
          <p:nvSpPr>
            <p:cNvPr id="27" name="TextBox 174">
              <a:extLst>
                <a:ext uri="{FF2B5EF4-FFF2-40B4-BE49-F238E27FC236}">
                  <a16:creationId xmlns:a16="http://schemas.microsoft.com/office/drawing/2014/main" id="{C9898D39-0008-49F9-8B2A-246CC4E97D0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590226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취소 버튼</a:t>
              </a:r>
            </a:p>
          </p:txBody>
        </p:sp>
        <p:sp>
          <p:nvSpPr>
            <p:cNvPr id="28" name="모서리가 둥근 직사각형 84">
              <a:extLst>
                <a:ext uri="{FF2B5EF4-FFF2-40B4-BE49-F238E27FC236}">
                  <a16:creationId xmlns:a16="http://schemas.microsoft.com/office/drawing/2014/main" id="{D2E5C4E7-28DB-4FEF-8F2D-EC0EA4BD1F36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2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9" name="TextBox 174">
            <a:extLst>
              <a:ext uri="{FF2B5EF4-FFF2-40B4-BE49-F238E27FC236}">
                <a16:creationId xmlns:a16="http://schemas.microsoft.com/office/drawing/2014/main" id="{C1C5A3EA-69EC-4C07-8245-497C97A89F8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39969" y="3433263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클릭 시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방문 예약일자 확정 취소 및 팝업 닫기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sp>
        <p:nvSpPr>
          <p:cNvPr id="11" name="모서리가 둥근 직사각형 84">
            <a:extLst>
              <a:ext uri="{FF2B5EF4-FFF2-40B4-BE49-F238E27FC236}">
                <a16:creationId xmlns:a16="http://schemas.microsoft.com/office/drawing/2014/main" id="{21E43400-5532-0365-2524-EB8AC5B6F545}"/>
              </a:ext>
            </a:extLst>
          </p:cNvPr>
          <p:cNvSpPr/>
          <p:nvPr/>
        </p:nvSpPr>
        <p:spPr>
          <a:xfrm>
            <a:off x="2849532" y="4303931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4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12" name="모서리가 둥근 직사각형 84">
            <a:extLst>
              <a:ext uri="{FF2B5EF4-FFF2-40B4-BE49-F238E27FC236}">
                <a16:creationId xmlns:a16="http://schemas.microsoft.com/office/drawing/2014/main" id="{8B708F43-96B9-EAE0-F73E-0E22A724E6EA}"/>
              </a:ext>
            </a:extLst>
          </p:cNvPr>
          <p:cNvSpPr/>
          <p:nvPr/>
        </p:nvSpPr>
        <p:spPr>
          <a:xfrm>
            <a:off x="3877988" y="4303931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5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grpSp>
        <p:nvGrpSpPr>
          <p:cNvPr id="14" name="그룹 13">
            <a:extLst>
              <a:ext uri="{FF2B5EF4-FFF2-40B4-BE49-F238E27FC236}">
                <a16:creationId xmlns:a16="http://schemas.microsoft.com/office/drawing/2014/main" id="{CD096453-F4F3-EF3E-E89A-703B978E2385}"/>
              </a:ext>
            </a:extLst>
          </p:cNvPr>
          <p:cNvGrpSpPr/>
          <p:nvPr/>
        </p:nvGrpSpPr>
        <p:grpSpPr>
          <a:xfrm>
            <a:off x="9286207" y="4371162"/>
            <a:ext cx="977740" cy="230832"/>
            <a:chOff x="7316687" y="3282664"/>
            <a:chExt cx="977740" cy="230832"/>
          </a:xfrm>
        </p:grpSpPr>
        <p:sp>
          <p:nvSpPr>
            <p:cNvPr id="30" name="TextBox 174">
              <a:extLst>
                <a:ext uri="{FF2B5EF4-FFF2-40B4-BE49-F238E27FC236}">
                  <a16:creationId xmlns:a16="http://schemas.microsoft.com/office/drawing/2014/main" id="{CFC47198-35DC-493B-274D-8A073A8CDF7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80342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다시 선택 버튼</a:t>
              </a:r>
            </a:p>
          </p:txBody>
        </p:sp>
        <p:sp>
          <p:nvSpPr>
            <p:cNvPr id="32" name="모서리가 둥근 직사각형 84">
              <a:extLst>
                <a:ext uri="{FF2B5EF4-FFF2-40B4-BE49-F238E27FC236}">
                  <a16:creationId xmlns:a16="http://schemas.microsoft.com/office/drawing/2014/main" id="{8CE5DC66-3431-9184-A78A-465810D43628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4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33" name="TextBox 174">
            <a:extLst>
              <a:ext uri="{FF2B5EF4-FFF2-40B4-BE49-F238E27FC236}">
                <a16:creationId xmlns:a16="http://schemas.microsoft.com/office/drawing/2014/main" id="{394D5F25-35B7-8FE8-075C-79875D79433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46979" y="4591449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클릭 시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 날짜 선택 팝업으로 다시 변경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grpSp>
        <p:nvGrpSpPr>
          <p:cNvPr id="34" name="그룹 33">
            <a:extLst>
              <a:ext uri="{FF2B5EF4-FFF2-40B4-BE49-F238E27FC236}">
                <a16:creationId xmlns:a16="http://schemas.microsoft.com/office/drawing/2014/main" id="{906E7503-29D8-A4F5-591A-92C129C1C1BB}"/>
              </a:ext>
            </a:extLst>
          </p:cNvPr>
          <p:cNvGrpSpPr/>
          <p:nvPr/>
        </p:nvGrpSpPr>
        <p:grpSpPr>
          <a:xfrm>
            <a:off x="9286207" y="4906345"/>
            <a:ext cx="764541" cy="230832"/>
            <a:chOff x="7316687" y="3282664"/>
            <a:chExt cx="764541" cy="230832"/>
          </a:xfrm>
        </p:grpSpPr>
        <p:sp>
          <p:nvSpPr>
            <p:cNvPr id="35" name="TextBox 174">
              <a:extLst>
                <a:ext uri="{FF2B5EF4-FFF2-40B4-BE49-F238E27FC236}">
                  <a16:creationId xmlns:a16="http://schemas.microsoft.com/office/drawing/2014/main" id="{323C445C-2B85-00E4-5580-29256B4C38F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590226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확정 버튼</a:t>
              </a:r>
              <a:endPara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  <p:sp>
          <p:nvSpPr>
            <p:cNvPr id="36" name="모서리가 둥근 직사각형 84">
              <a:extLst>
                <a:ext uri="{FF2B5EF4-FFF2-40B4-BE49-F238E27FC236}">
                  <a16:creationId xmlns:a16="http://schemas.microsoft.com/office/drawing/2014/main" id="{8A3DFBDD-0AE5-55CB-4F79-3B10A54F9EB5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5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37" name="TextBox 174">
            <a:extLst>
              <a:ext uri="{FF2B5EF4-FFF2-40B4-BE49-F238E27FC236}">
                <a16:creationId xmlns:a16="http://schemas.microsoft.com/office/drawing/2014/main" id="{91965817-4724-AAA2-7824-4B35263AC53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46979" y="5126632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클릭 시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 선택한 날짜로 방문일자 확정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307321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그림 13" descr="텍스트, 폰트, 번호, 스크린샷이(가) 표시된 사진&#10;&#10;자동 생성된 설명">
            <a:extLst>
              <a:ext uri="{FF2B5EF4-FFF2-40B4-BE49-F238E27FC236}">
                <a16:creationId xmlns:a16="http://schemas.microsoft.com/office/drawing/2014/main" id="{381BCB21-E005-FD84-C1AC-DA5167AFDD9C}"/>
              </a:ext>
            </a:extLst>
          </p:cNvPr>
          <p:cNvPicPr>
            <a:picLocks/>
          </p:cNvPicPr>
          <p:nvPr/>
        </p:nvPicPr>
        <p:blipFill rotWithShape="1">
          <a:blip r:embed="rId3"/>
          <a:srcRect b="5902"/>
          <a:stretch/>
        </p:blipFill>
        <p:spPr>
          <a:xfrm>
            <a:off x="597600" y="2052001"/>
            <a:ext cx="2052000" cy="4031999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2" name="제목 1">
            <a:extLst>
              <a:ext uri="{FF2B5EF4-FFF2-40B4-BE49-F238E27FC236}">
                <a16:creationId xmlns:a16="http://schemas.microsoft.com/office/drawing/2014/main" id="{0C5286BA-92CE-41FB-BB05-BE0F5BBA1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맞춤예약</a:t>
            </a:r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B73B35C2-EB8A-4573-B037-7CC6DF06F86A}"/>
              </a:ext>
            </a:extLst>
          </p:cNvPr>
          <p:cNvGrpSpPr/>
          <p:nvPr/>
        </p:nvGrpSpPr>
        <p:grpSpPr>
          <a:xfrm>
            <a:off x="0" y="-3562"/>
            <a:ext cx="9226508" cy="6816938"/>
            <a:chOff x="-1952021" y="-3562"/>
            <a:chExt cx="9226508" cy="6816938"/>
          </a:xfrm>
        </p:grpSpPr>
        <p:cxnSp>
          <p:nvCxnSpPr>
            <p:cNvPr id="6" name="직선 연결선 5">
              <a:extLst>
                <a:ext uri="{FF2B5EF4-FFF2-40B4-BE49-F238E27FC236}">
                  <a16:creationId xmlns:a16="http://schemas.microsoft.com/office/drawing/2014/main" id="{B4C45666-B8F5-4C50-86A6-C4C0BE1D6FE0}"/>
                </a:ext>
              </a:extLst>
            </p:cNvPr>
            <p:cNvCxnSpPr>
              <a:cxnSpLocks/>
            </p:cNvCxnSpPr>
            <p:nvPr/>
          </p:nvCxnSpPr>
          <p:spPr>
            <a:xfrm>
              <a:off x="7257256" y="-3562"/>
              <a:ext cx="0" cy="6816938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직선 연결선 6">
              <a:extLst>
                <a:ext uri="{FF2B5EF4-FFF2-40B4-BE49-F238E27FC236}">
                  <a16:creationId xmlns:a16="http://schemas.microsoft.com/office/drawing/2014/main" id="{4860EB04-C536-404F-98C0-823E8ADC86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1952021" y="1563825"/>
              <a:ext cx="9226508" cy="0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0B76F625-D0A3-4C9E-8D76-BC231976DDDC}"/>
              </a:ext>
            </a:extLst>
          </p:cNvPr>
          <p:cNvGrpSpPr/>
          <p:nvPr/>
        </p:nvGrpSpPr>
        <p:grpSpPr>
          <a:xfrm>
            <a:off x="479376" y="908720"/>
            <a:ext cx="6759312" cy="338554"/>
            <a:chOff x="479376" y="-963488"/>
            <a:chExt cx="6759312" cy="338554"/>
          </a:xfrm>
        </p:grpSpPr>
        <p:sp>
          <p:nvSpPr>
            <p:cNvPr id="9" name="사각형: 둥근 모서리 8">
              <a:extLst>
                <a:ext uri="{FF2B5EF4-FFF2-40B4-BE49-F238E27FC236}">
                  <a16:creationId xmlns:a16="http://schemas.microsoft.com/office/drawing/2014/main" id="{F66EE92C-BEAA-4A28-9FFE-528E99678B1D}"/>
                </a:ext>
              </a:extLst>
            </p:cNvPr>
            <p:cNvSpPr/>
            <p:nvPr/>
          </p:nvSpPr>
          <p:spPr>
            <a:xfrm>
              <a:off x="479376" y="-946863"/>
              <a:ext cx="590358" cy="305304"/>
            </a:xfrm>
            <a:prstGeom prst="roundRect">
              <a:avLst>
                <a:gd name="adj" fmla="val 50000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>
                      <a:alpha val="50000"/>
                    </a:schemeClr>
                  </a:solidFill>
                  <a:latin typeface="+mn-ea"/>
                  <a:cs typeface="Arial" panose="020B0604020202020204" pitchFamily="34" charset="0"/>
                </a:rPr>
                <a:t>0</a:t>
              </a:r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C8869CF-0725-41FD-AE4C-2AF26212AA85}"/>
                </a:ext>
              </a:extLst>
            </p:cNvPr>
            <p:cNvSpPr txBox="1"/>
            <p:nvPr/>
          </p:nvSpPr>
          <p:spPr>
            <a:xfrm>
              <a:off x="1127448" y="-963488"/>
              <a:ext cx="6111240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R="0" indent="0" algn="just" fontAlgn="base" latinLnBrk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 sz="1600" kern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defRPr>
              </a:lvl1pPr>
            </a:lstStyle>
            <a:p>
              <a:r>
                <a:rPr lang="ko-KR" altLang="en-US"/>
                <a:t>맞춤예약 </a:t>
              </a:r>
              <a:r>
                <a:rPr lang="en-US" altLang="ko-KR" dirty="0"/>
                <a:t>– </a:t>
              </a:r>
              <a:r>
                <a:rPr lang="ko-KR" altLang="en-US"/>
                <a:t>맞춤예약 이력</a:t>
              </a:r>
              <a:endParaRPr lang="en-US" altLang="ko-KR" dirty="0"/>
            </a:p>
          </p:txBody>
        </p:sp>
      </p:grpSp>
      <p:sp>
        <p:nvSpPr>
          <p:cNvPr id="12" name="모서리가 둥근 직사각형 84">
            <a:extLst>
              <a:ext uri="{FF2B5EF4-FFF2-40B4-BE49-F238E27FC236}">
                <a16:creationId xmlns:a16="http://schemas.microsoft.com/office/drawing/2014/main" id="{19E6B632-F2AA-4722-9EB1-71EB0EFC64DD}"/>
              </a:ext>
            </a:extLst>
          </p:cNvPr>
          <p:cNvSpPr/>
          <p:nvPr/>
        </p:nvSpPr>
        <p:spPr>
          <a:xfrm>
            <a:off x="502570" y="2569117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1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grpSp>
        <p:nvGrpSpPr>
          <p:cNvPr id="19" name="그룹 18">
            <a:extLst>
              <a:ext uri="{FF2B5EF4-FFF2-40B4-BE49-F238E27FC236}">
                <a16:creationId xmlns:a16="http://schemas.microsoft.com/office/drawing/2014/main" id="{B50FA504-298C-4A36-B9A0-B0D7748147D8}"/>
              </a:ext>
            </a:extLst>
          </p:cNvPr>
          <p:cNvGrpSpPr/>
          <p:nvPr/>
        </p:nvGrpSpPr>
        <p:grpSpPr>
          <a:xfrm>
            <a:off x="9293626" y="1378316"/>
            <a:ext cx="1073920" cy="230832"/>
            <a:chOff x="7316687" y="3282664"/>
            <a:chExt cx="1073920" cy="230832"/>
          </a:xfrm>
        </p:grpSpPr>
        <p:sp>
          <p:nvSpPr>
            <p:cNvPr id="20" name="TextBox 174">
              <a:extLst>
                <a:ext uri="{FF2B5EF4-FFF2-40B4-BE49-F238E27FC236}">
                  <a16:creationId xmlns:a16="http://schemas.microsoft.com/office/drawing/2014/main" id="{9E76469A-1088-4555-BF7E-3C57448581C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89960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완료된 작업 목록</a:t>
              </a:r>
            </a:p>
          </p:txBody>
        </p:sp>
        <p:sp>
          <p:nvSpPr>
            <p:cNvPr id="21" name="모서리가 둥근 직사각형 84">
              <a:extLst>
                <a:ext uri="{FF2B5EF4-FFF2-40B4-BE49-F238E27FC236}">
                  <a16:creationId xmlns:a16="http://schemas.microsoft.com/office/drawing/2014/main" id="{B5CAA34D-23DF-45D5-8D36-CD60658DA021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1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2" name="TextBox 174">
            <a:extLst>
              <a:ext uri="{FF2B5EF4-FFF2-40B4-BE49-F238E27FC236}">
                <a16:creationId xmlns:a16="http://schemas.microsoft.com/office/drawing/2014/main" id="{47829886-1F68-48EE-80CF-0CDCE044B7B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54398" y="1598603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완료된 작업 목록 조회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6803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9FC3D1A8-E22C-4D23-A899-216DBB82F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화면목록</a:t>
            </a:r>
          </a:p>
        </p:txBody>
      </p:sp>
      <p:graphicFrame>
        <p:nvGraphicFramePr>
          <p:cNvPr id="5" name="표 4">
            <a:extLst>
              <a:ext uri="{FF2B5EF4-FFF2-40B4-BE49-F238E27FC236}">
                <a16:creationId xmlns:a16="http://schemas.microsoft.com/office/drawing/2014/main" id="{CC2D0BAC-D7A7-42EE-8A7D-C4921F2D34F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3847229"/>
              </p:ext>
            </p:extLst>
          </p:nvPr>
        </p:nvGraphicFramePr>
        <p:xfrm>
          <a:off x="373210" y="1055540"/>
          <a:ext cx="11411424" cy="5794260"/>
        </p:xfrm>
        <a:graphic>
          <a:graphicData uri="http://schemas.openxmlformats.org/drawingml/2006/table">
            <a:tbl>
              <a:tblPr/>
              <a:tblGrid>
                <a:gridCol w="1412696">
                  <a:extLst>
                    <a:ext uri="{9D8B030D-6E8A-4147-A177-3AD203B41FA5}">
                      <a16:colId xmlns:a16="http://schemas.microsoft.com/office/drawing/2014/main" val="946738709"/>
                    </a:ext>
                  </a:extLst>
                </a:gridCol>
                <a:gridCol w="1412696">
                  <a:extLst>
                    <a:ext uri="{9D8B030D-6E8A-4147-A177-3AD203B41FA5}">
                      <a16:colId xmlns:a16="http://schemas.microsoft.com/office/drawing/2014/main" val="2660581955"/>
                    </a:ext>
                  </a:extLst>
                </a:gridCol>
                <a:gridCol w="1412696">
                  <a:extLst>
                    <a:ext uri="{9D8B030D-6E8A-4147-A177-3AD203B41FA5}">
                      <a16:colId xmlns:a16="http://schemas.microsoft.com/office/drawing/2014/main" val="1951033502"/>
                    </a:ext>
                  </a:extLst>
                </a:gridCol>
                <a:gridCol w="1412696">
                  <a:extLst>
                    <a:ext uri="{9D8B030D-6E8A-4147-A177-3AD203B41FA5}">
                      <a16:colId xmlns:a16="http://schemas.microsoft.com/office/drawing/2014/main" val="3148794155"/>
                    </a:ext>
                  </a:extLst>
                </a:gridCol>
                <a:gridCol w="5760640">
                  <a:extLst>
                    <a:ext uri="{9D8B030D-6E8A-4147-A177-3AD203B41FA5}">
                      <a16:colId xmlns:a16="http://schemas.microsoft.com/office/drawing/2014/main" val="1292155237"/>
                    </a:ext>
                  </a:extLst>
                </a:gridCol>
              </a:tblGrid>
              <a:tr h="174828">
                <a:tc>
                  <a:txBody>
                    <a:bodyPr/>
                    <a:lstStyle/>
                    <a:p>
                      <a:pPr algn="ctr"/>
                      <a:r>
                        <a:rPr kumimoji="1" lang="ko-KR" altLang="en-US" sz="1200" b="1" i="0" u="none" strike="noStrike" kern="1200" cap="none" spc="0" normalizeH="0" baseline="0" dirty="0" err="1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대메뉴</a:t>
                      </a:r>
                      <a:endParaRPr kumimoji="1" lang="ko-KR" altLang="en-US" sz="12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57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중메뉴</a:t>
                      </a:r>
                      <a:endParaRPr kumimoji="1" lang="ko-KR" altLang="en-US" sz="12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9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소메뉴</a:t>
                      </a:r>
                      <a:endParaRPr kumimoji="1" lang="ko-KR" altLang="en-US" sz="12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9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화면명</a:t>
                      </a:r>
                      <a:r>
                        <a:rPr kumimoji="1" lang="en-US" altLang="ko-KR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(</a:t>
                      </a:r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기능</a:t>
                      </a:r>
                      <a:r>
                        <a:rPr kumimoji="1" lang="en-US" altLang="ko-KR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)</a:t>
                      </a:r>
                      <a:endParaRPr kumimoji="1" lang="ko-KR" altLang="en-US" sz="1200" b="1" i="0" u="none" strike="noStrike" kern="1200" cap="none" spc="0" normalizeH="0" baseline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9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설명</a:t>
                      </a:r>
                      <a:endParaRPr kumimoji="1" lang="ko-KR" altLang="en-US" sz="12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77E9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822536"/>
                  </a:ext>
                </a:extLst>
              </a:tr>
              <a:tr h="43710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사용자 인증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회원가입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본인인증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903111"/>
                  </a:ext>
                </a:extLst>
              </a:tr>
              <a:tr h="131130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개인정보입력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023309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약관및정책동의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408534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로그인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4828568"/>
                  </a:ext>
                </a:extLst>
              </a:tr>
              <a:tr h="87420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아이디 찾기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723632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비밀번호 찾기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8216814"/>
                  </a:ext>
                </a:extLst>
              </a:tr>
              <a:tr h="136947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전체 서비스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4925449"/>
                  </a:ext>
                </a:extLst>
              </a:tr>
              <a:tr h="87420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마이페이지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마이페이지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716974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개인정보관리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78959"/>
                  </a:ext>
                </a:extLst>
              </a:tr>
              <a:tr h="87420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환경설정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알림설정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88492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병원설정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처방전 조회 시 요청하기 위한 병원 목록을 설정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B: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인천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, G: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안산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, E: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창원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, F: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순천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, M: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대전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, D: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태백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,C: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동해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,H: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정선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,Q: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대구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,J: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경기요양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,1: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서울의원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,2: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광주의원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,3: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부산의원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189909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약관및정책조회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893910"/>
                  </a:ext>
                </a:extLst>
              </a:tr>
              <a:tr h="87420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홈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홈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이름</a:t>
                      </a:r>
                      <a:r>
                        <a:rPr kumimoji="0" lang="en-US" altLang="ko-KR" sz="10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 dirty="0" err="1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나의리워드포인트</a:t>
                      </a:r>
                      <a:r>
                        <a:rPr kumimoji="0" lang="en-US" altLang="ko-KR" sz="10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 dirty="0" err="1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나의일정</a:t>
                      </a:r>
                      <a:r>
                        <a:rPr kumimoji="0" lang="en-US" altLang="ko-KR" sz="10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나의장비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812442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알림이력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알림이력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조회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알림이력 목록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164149"/>
                  </a:ext>
                </a:extLst>
              </a:tr>
              <a:tr h="160369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마이데이터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마이데이터조회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보험자격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보류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6314705"/>
                  </a:ext>
                </a:extLst>
              </a:tr>
              <a:tr h="43710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재활보조기구 처방전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 </a:t>
                      </a:r>
                      <a:endParaRPr kumimoji="0" lang="ko-KR" altLang="en-US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신규마이데이터 요청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: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근로복지공단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알스텝의 경우 본인인증 후 의료데이터 요청 및 플랫폼에 업로드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플랫폼에 업로드된 마이데이터 조회 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각 마이데이터는 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PDF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로 내려받기 제공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6622272"/>
                  </a:ext>
                </a:extLst>
              </a:tr>
              <a:tr h="131130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비대면검수데이터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상동</a:t>
                      </a:r>
                      <a:endParaRPr lang="en-US" altLang="ko-KR" sz="1000" b="0" kern="1200" spc="0" baseline="0" noProof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6124534"/>
                  </a:ext>
                </a:extLst>
              </a:tr>
              <a:tr h="87420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상담데이터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상동</a:t>
                      </a:r>
                      <a:endParaRPr lang="en-US" altLang="ko-KR" sz="1000" b="0" kern="1200" spc="0" baseline="0" noProof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796311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거래명세서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상동</a:t>
                      </a:r>
                      <a:endParaRPr lang="en-US" altLang="ko-KR" sz="1000" b="0" kern="1200" spc="0" baseline="0" noProof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8316197"/>
                  </a:ext>
                </a:extLst>
              </a:tr>
              <a:tr h="87420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검진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검사데이터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상동</a:t>
                      </a:r>
                      <a:endParaRPr lang="en-US" altLang="ko-KR" sz="1000" b="0" kern="1200" spc="0" baseline="0" noProof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416564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장애인등록증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상동</a:t>
                      </a:r>
                      <a:endParaRPr lang="en-US" altLang="ko-KR" sz="1000" b="0" kern="1200" spc="0" baseline="0" noProof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388585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혈당측정데이터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상동</a:t>
                      </a:r>
                      <a:endParaRPr lang="en-US" altLang="ko-KR" sz="1000" b="0" kern="1200" spc="0" baseline="0" noProof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689905"/>
                  </a:ext>
                </a:extLst>
              </a:tr>
              <a:tr h="136947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나의서비스이력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목록조회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서비스 요청 및 처리 이력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0560096"/>
                  </a:ext>
                </a:extLst>
              </a:tr>
              <a:tr h="136947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영수증조회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사용자동의영수증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각 영수증은  영수증 전표 표출 및 다운로드 제공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5270362"/>
                  </a:ext>
                </a:extLst>
              </a:tr>
              <a:tr h="136947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수집영수증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상동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8460367"/>
                  </a:ext>
                </a:extLst>
              </a:tr>
              <a:tr h="136947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공유영수증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상동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7204146"/>
                  </a:ext>
                </a:extLst>
              </a:tr>
              <a:tr h="136947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내려받기영수증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상동</a:t>
                      </a:r>
                      <a:endParaRPr lang="en-US" altLang="ko-KR" sz="1000" b="0" kern="1200" spc="0" baseline="0" noProof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9326730"/>
                  </a:ext>
                </a:extLst>
              </a:tr>
              <a:tr h="136947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리워드포인트조회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리워드 포인트 적립</a:t>
                      </a:r>
                      <a:r>
                        <a:rPr kumimoji="0" lang="en-US" altLang="ko-KR" sz="10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차감 이력 조회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57168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86848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C5286BA-92CE-41FB-BB05-BE0F5BBA1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당뇨관리</a:t>
            </a:r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B73B35C2-EB8A-4573-B037-7CC6DF06F86A}"/>
              </a:ext>
            </a:extLst>
          </p:cNvPr>
          <p:cNvGrpSpPr/>
          <p:nvPr/>
        </p:nvGrpSpPr>
        <p:grpSpPr>
          <a:xfrm>
            <a:off x="0" y="0"/>
            <a:ext cx="9226508" cy="6816938"/>
            <a:chOff x="-1952021" y="-3562"/>
            <a:chExt cx="9226508" cy="6816938"/>
          </a:xfrm>
        </p:grpSpPr>
        <p:cxnSp>
          <p:nvCxnSpPr>
            <p:cNvPr id="6" name="직선 연결선 5">
              <a:extLst>
                <a:ext uri="{FF2B5EF4-FFF2-40B4-BE49-F238E27FC236}">
                  <a16:creationId xmlns:a16="http://schemas.microsoft.com/office/drawing/2014/main" id="{B4C45666-B8F5-4C50-86A6-C4C0BE1D6FE0}"/>
                </a:ext>
              </a:extLst>
            </p:cNvPr>
            <p:cNvCxnSpPr>
              <a:cxnSpLocks/>
            </p:cNvCxnSpPr>
            <p:nvPr/>
          </p:nvCxnSpPr>
          <p:spPr>
            <a:xfrm>
              <a:off x="7257256" y="-3562"/>
              <a:ext cx="0" cy="6816938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직선 연결선 6">
              <a:extLst>
                <a:ext uri="{FF2B5EF4-FFF2-40B4-BE49-F238E27FC236}">
                  <a16:creationId xmlns:a16="http://schemas.microsoft.com/office/drawing/2014/main" id="{4860EB04-C536-404F-98C0-823E8ADC86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1952021" y="1563825"/>
              <a:ext cx="9226508" cy="0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0B76F625-D0A3-4C9E-8D76-BC231976DDDC}"/>
              </a:ext>
            </a:extLst>
          </p:cNvPr>
          <p:cNvGrpSpPr/>
          <p:nvPr/>
        </p:nvGrpSpPr>
        <p:grpSpPr>
          <a:xfrm>
            <a:off x="479376" y="908720"/>
            <a:ext cx="6759312" cy="338554"/>
            <a:chOff x="479376" y="-963488"/>
            <a:chExt cx="6759312" cy="338554"/>
          </a:xfrm>
        </p:grpSpPr>
        <p:sp>
          <p:nvSpPr>
            <p:cNvPr id="9" name="사각형: 둥근 모서리 8">
              <a:extLst>
                <a:ext uri="{FF2B5EF4-FFF2-40B4-BE49-F238E27FC236}">
                  <a16:creationId xmlns:a16="http://schemas.microsoft.com/office/drawing/2014/main" id="{F66EE92C-BEAA-4A28-9FFE-528E99678B1D}"/>
                </a:ext>
              </a:extLst>
            </p:cNvPr>
            <p:cNvSpPr/>
            <p:nvPr/>
          </p:nvSpPr>
          <p:spPr>
            <a:xfrm>
              <a:off x="479376" y="-946863"/>
              <a:ext cx="590358" cy="305304"/>
            </a:xfrm>
            <a:prstGeom prst="roundRect">
              <a:avLst>
                <a:gd name="adj" fmla="val 50000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>
                      <a:alpha val="50000"/>
                    </a:schemeClr>
                  </a:solidFill>
                  <a:latin typeface="+mn-ea"/>
                  <a:cs typeface="Arial" panose="020B0604020202020204" pitchFamily="34" charset="0"/>
                </a:rPr>
                <a:t>0</a:t>
              </a:r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C8869CF-0725-41FD-AE4C-2AF26212AA85}"/>
                </a:ext>
              </a:extLst>
            </p:cNvPr>
            <p:cNvSpPr txBox="1"/>
            <p:nvPr/>
          </p:nvSpPr>
          <p:spPr>
            <a:xfrm>
              <a:off x="1127448" y="-963488"/>
              <a:ext cx="6111240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R="0" indent="0" algn="just" fontAlgn="base" latinLnBrk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 sz="1600" kern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defRPr>
              </a:lvl1pPr>
            </a:lstStyle>
            <a:p>
              <a:r>
                <a:rPr lang="ko-KR" altLang="en-US"/>
                <a:t>당뇨관리 </a:t>
              </a:r>
              <a:r>
                <a:rPr lang="en-US" altLang="ko-KR"/>
                <a:t>–</a:t>
              </a:r>
              <a:r>
                <a:rPr lang="ko-KR" altLang="en-US"/>
                <a:t>식단</a:t>
              </a:r>
              <a:r>
                <a:rPr lang="en-US" altLang="ko-KR" dirty="0"/>
                <a:t>/</a:t>
              </a:r>
              <a:r>
                <a:rPr lang="ko-KR" altLang="en-US" dirty="0"/>
                <a:t>운동법 </a:t>
              </a:r>
              <a:r>
                <a:rPr lang="ko-KR" altLang="en-US"/>
                <a:t>컨텐츠 조회</a:t>
              </a:r>
              <a:endParaRPr lang="en-US" altLang="ko-KR" dirty="0"/>
            </a:p>
          </p:txBody>
        </p:sp>
      </p:grpSp>
      <p:pic>
        <p:nvPicPr>
          <p:cNvPr id="4" name="그림 3" descr="텍스트, 폰트, 스크린샷이(가) 표시된 사진&#10;&#10;자동 생성된 설명">
            <a:extLst>
              <a:ext uri="{FF2B5EF4-FFF2-40B4-BE49-F238E27FC236}">
                <a16:creationId xmlns:a16="http://schemas.microsoft.com/office/drawing/2014/main" id="{53044B23-0D17-F77E-902B-36F9086B2DCE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597600" y="2062800"/>
            <a:ext cx="2052000" cy="4294800"/>
          </a:xfrm>
          <a:prstGeom prst="rect">
            <a:avLst/>
          </a:prstGeom>
        </p:spPr>
      </p:pic>
      <p:grpSp>
        <p:nvGrpSpPr>
          <p:cNvPr id="12" name="그룹 11">
            <a:extLst>
              <a:ext uri="{FF2B5EF4-FFF2-40B4-BE49-F238E27FC236}">
                <a16:creationId xmlns:a16="http://schemas.microsoft.com/office/drawing/2014/main" id="{8D139FC9-34AE-A413-9E6C-7C38BDAE60E0}"/>
              </a:ext>
            </a:extLst>
          </p:cNvPr>
          <p:cNvGrpSpPr/>
          <p:nvPr/>
        </p:nvGrpSpPr>
        <p:grpSpPr>
          <a:xfrm>
            <a:off x="9291190" y="1268760"/>
            <a:ext cx="977740" cy="230832"/>
            <a:chOff x="7316687" y="3282664"/>
            <a:chExt cx="977740" cy="230832"/>
          </a:xfrm>
        </p:grpSpPr>
        <p:sp>
          <p:nvSpPr>
            <p:cNvPr id="13" name="TextBox 174">
              <a:extLst>
                <a:ext uri="{FF2B5EF4-FFF2-40B4-BE49-F238E27FC236}">
                  <a16:creationId xmlns:a16="http://schemas.microsoft.com/office/drawing/2014/main" id="{11CAB54A-E31C-38CD-2918-3D8E904BFC9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80342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혈당 관리 식단</a:t>
              </a:r>
              <a:endPara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  <p:sp>
          <p:nvSpPr>
            <p:cNvPr id="14" name="모서리가 둥근 직사각형 84">
              <a:extLst>
                <a:ext uri="{FF2B5EF4-FFF2-40B4-BE49-F238E27FC236}">
                  <a16:creationId xmlns:a16="http://schemas.microsoft.com/office/drawing/2014/main" id="{A82508CD-D16F-0F24-0F2A-D2DAB03ACFD0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1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5" name="그룹 14">
            <a:extLst>
              <a:ext uri="{FF2B5EF4-FFF2-40B4-BE49-F238E27FC236}">
                <a16:creationId xmlns:a16="http://schemas.microsoft.com/office/drawing/2014/main" id="{F258B711-36D3-BBE1-8B27-4C2903342249}"/>
              </a:ext>
            </a:extLst>
          </p:cNvPr>
          <p:cNvGrpSpPr/>
          <p:nvPr/>
        </p:nvGrpSpPr>
        <p:grpSpPr>
          <a:xfrm>
            <a:off x="9285921" y="2060848"/>
            <a:ext cx="977740" cy="230832"/>
            <a:chOff x="7316687" y="3282664"/>
            <a:chExt cx="977740" cy="230832"/>
          </a:xfrm>
        </p:grpSpPr>
        <p:sp>
          <p:nvSpPr>
            <p:cNvPr id="16" name="TextBox 174">
              <a:extLst>
                <a:ext uri="{FF2B5EF4-FFF2-40B4-BE49-F238E27FC236}">
                  <a16:creationId xmlns:a16="http://schemas.microsoft.com/office/drawing/2014/main" id="{4AC31328-2242-1159-2050-94624E383CE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80342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혈당 </a:t>
              </a: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관리 운동</a:t>
              </a:r>
              <a:endPara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  <p:sp>
          <p:nvSpPr>
            <p:cNvPr id="17" name="모서리가 둥근 직사각형 84">
              <a:extLst>
                <a:ext uri="{FF2B5EF4-FFF2-40B4-BE49-F238E27FC236}">
                  <a16:creationId xmlns:a16="http://schemas.microsoft.com/office/drawing/2014/main" id="{4280E3E4-7F6F-858E-0CA5-68A9C8FA85E7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2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18" name="TextBox 174">
            <a:extLst>
              <a:ext uri="{FF2B5EF4-FFF2-40B4-BE49-F238E27FC236}">
                <a16:creationId xmlns:a16="http://schemas.microsoft.com/office/drawing/2014/main" id="{FA6C149A-A2C3-89C7-EA11-0986E0E3B61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39685" y="1526737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혈당 조절을 위한 식단을 영양소별로 분리하여 제공</a:t>
            </a:r>
          </a:p>
        </p:txBody>
      </p:sp>
      <p:sp>
        <p:nvSpPr>
          <p:cNvPr id="19" name="TextBox 174">
            <a:extLst>
              <a:ext uri="{FF2B5EF4-FFF2-40B4-BE49-F238E27FC236}">
                <a16:creationId xmlns:a16="http://schemas.microsoft.com/office/drawing/2014/main" id="{0C21EFC2-5B34-C0BE-8954-C328F89894D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39684" y="2347599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혈당 관리를 위한 유산소 운동과 저항성 운동법 제공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</p:txBody>
      </p:sp>
      <p:sp>
        <p:nvSpPr>
          <p:cNvPr id="28" name="모서리가 둥근 직사각형 84">
            <a:extLst>
              <a:ext uri="{FF2B5EF4-FFF2-40B4-BE49-F238E27FC236}">
                <a16:creationId xmlns:a16="http://schemas.microsoft.com/office/drawing/2014/main" id="{F1FB4186-39F0-1082-CC93-D1A98FD726CA}"/>
              </a:ext>
            </a:extLst>
          </p:cNvPr>
          <p:cNvSpPr/>
          <p:nvPr/>
        </p:nvSpPr>
        <p:spPr>
          <a:xfrm>
            <a:off x="474672" y="3068960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1</a:t>
            </a:r>
            <a:endParaRPr lang="ko-KR" altLang="en-US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29" name="모서리가 둥근 직사각형 84">
            <a:extLst>
              <a:ext uri="{FF2B5EF4-FFF2-40B4-BE49-F238E27FC236}">
                <a16:creationId xmlns:a16="http://schemas.microsoft.com/office/drawing/2014/main" id="{899EA33D-5A62-0098-7A0D-E36F6011D9AA}"/>
              </a:ext>
            </a:extLst>
          </p:cNvPr>
          <p:cNvSpPr/>
          <p:nvPr/>
        </p:nvSpPr>
        <p:spPr>
          <a:xfrm>
            <a:off x="474672" y="4270012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2</a:t>
            </a:r>
            <a:endParaRPr lang="ko-KR" altLang="en-US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0896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그림 21" descr="텍스트, 폰트, 번호, 스크린샷이(가) 표시된 사진&#10;&#10;자동 생성된 설명">
            <a:extLst>
              <a:ext uri="{FF2B5EF4-FFF2-40B4-BE49-F238E27FC236}">
                <a16:creationId xmlns:a16="http://schemas.microsoft.com/office/drawing/2014/main" id="{AB8F5289-3F29-94DB-E518-AC24E04886A8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597600" y="2062800"/>
            <a:ext cx="2052000" cy="4294800"/>
          </a:xfrm>
          <a:prstGeom prst="rect">
            <a:avLst/>
          </a:prstGeom>
        </p:spPr>
      </p:pic>
      <p:sp>
        <p:nvSpPr>
          <p:cNvPr id="2" name="제목 1">
            <a:extLst>
              <a:ext uri="{FF2B5EF4-FFF2-40B4-BE49-F238E27FC236}">
                <a16:creationId xmlns:a16="http://schemas.microsoft.com/office/drawing/2014/main" id="{0C5286BA-92CE-41FB-BB05-BE0F5BBA1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당뇨관리</a:t>
            </a:r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B73B35C2-EB8A-4573-B037-7CC6DF06F86A}"/>
              </a:ext>
            </a:extLst>
          </p:cNvPr>
          <p:cNvGrpSpPr/>
          <p:nvPr/>
        </p:nvGrpSpPr>
        <p:grpSpPr>
          <a:xfrm>
            <a:off x="0" y="-3562"/>
            <a:ext cx="9226508" cy="6816938"/>
            <a:chOff x="-1952021" y="-3562"/>
            <a:chExt cx="9226508" cy="6816938"/>
          </a:xfrm>
        </p:grpSpPr>
        <p:cxnSp>
          <p:nvCxnSpPr>
            <p:cNvPr id="6" name="직선 연결선 5">
              <a:extLst>
                <a:ext uri="{FF2B5EF4-FFF2-40B4-BE49-F238E27FC236}">
                  <a16:creationId xmlns:a16="http://schemas.microsoft.com/office/drawing/2014/main" id="{B4C45666-B8F5-4C50-86A6-C4C0BE1D6FE0}"/>
                </a:ext>
              </a:extLst>
            </p:cNvPr>
            <p:cNvCxnSpPr>
              <a:cxnSpLocks/>
            </p:cNvCxnSpPr>
            <p:nvPr/>
          </p:nvCxnSpPr>
          <p:spPr>
            <a:xfrm>
              <a:off x="7257256" y="-3562"/>
              <a:ext cx="0" cy="6816938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직선 연결선 6">
              <a:extLst>
                <a:ext uri="{FF2B5EF4-FFF2-40B4-BE49-F238E27FC236}">
                  <a16:creationId xmlns:a16="http://schemas.microsoft.com/office/drawing/2014/main" id="{4860EB04-C536-404F-98C0-823E8ADC86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1952021" y="1563825"/>
              <a:ext cx="9226508" cy="0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0B76F625-D0A3-4C9E-8D76-BC231976DDDC}"/>
              </a:ext>
            </a:extLst>
          </p:cNvPr>
          <p:cNvGrpSpPr/>
          <p:nvPr/>
        </p:nvGrpSpPr>
        <p:grpSpPr>
          <a:xfrm>
            <a:off x="479376" y="908720"/>
            <a:ext cx="6759312" cy="338554"/>
            <a:chOff x="479376" y="-963488"/>
            <a:chExt cx="6759312" cy="338554"/>
          </a:xfrm>
        </p:grpSpPr>
        <p:sp>
          <p:nvSpPr>
            <p:cNvPr id="9" name="사각형: 둥근 모서리 8">
              <a:extLst>
                <a:ext uri="{FF2B5EF4-FFF2-40B4-BE49-F238E27FC236}">
                  <a16:creationId xmlns:a16="http://schemas.microsoft.com/office/drawing/2014/main" id="{F66EE92C-BEAA-4A28-9FFE-528E99678B1D}"/>
                </a:ext>
              </a:extLst>
            </p:cNvPr>
            <p:cNvSpPr/>
            <p:nvPr/>
          </p:nvSpPr>
          <p:spPr>
            <a:xfrm>
              <a:off x="479376" y="-946863"/>
              <a:ext cx="590358" cy="305304"/>
            </a:xfrm>
            <a:prstGeom prst="roundRect">
              <a:avLst>
                <a:gd name="adj" fmla="val 50000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>
                      <a:alpha val="50000"/>
                    </a:schemeClr>
                  </a:solidFill>
                  <a:latin typeface="+mn-ea"/>
                  <a:cs typeface="Arial" panose="020B0604020202020204" pitchFamily="34" charset="0"/>
                </a:rPr>
                <a:t>0</a:t>
              </a:r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C8869CF-0725-41FD-AE4C-2AF26212AA85}"/>
                </a:ext>
              </a:extLst>
            </p:cNvPr>
            <p:cNvSpPr txBox="1"/>
            <p:nvPr/>
          </p:nvSpPr>
          <p:spPr>
            <a:xfrm>
              <a:off x="1127448" y="-963488"/>
              <a:ext cx="6111240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R="0" indent="0" algn="just" fontAlgn="base" latinLnBrk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 sz="1600" kern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defRPr>
              </a:lvl1pPr>
            </a:lstStyle>
            <a:p>
              <a:r>
                <a:rPr lang="ko-KR" altLang="en-US"/>
                <a:t>당뇨관리 </a:t>
              </a:r>
              <a:r>
                <a:rPr lang="en-US" altLang="ko-KR" dirty="0"/>
                <a:t>–</a:t>
              </a:r>
              <a:r>
                <a:rPr lang="ko-KR" altLang="en-US"/>
                <a:t>혈당측정 입력</a:t>
              </a:r>
              <a:endParaRPr lang="en-US" altLang="ko-KR" dirty="0"/>
            </a:p>
          </p:txBody>
        </p:sp>
      </p:grp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6968440F-EA24-A55A-1FE7-E787F3DE2B06}"/>
              </a:ext>
            </a:extLst>
          </p:cNvPr>
          <p:cNvGrpSpPr/>
          <p:nvPr/>
        </p:nvGrpSpPr>
        <p:grpSpPr>
          <a:xfrm>
            <a:off x="9291190" y="1268760"/>
            <a:ext cx="977740" cy="230832"/>
            <a:chOff x="7316687" y="3282664"/>
            <a:chExt cx="977740" cy="230832"/>
          </a:xfrm>
        </p:grpSpPr>
        <p:sp>
          <p:nvSpPr>
            <p:cNvPr id="13" name="TextBox 174">
              <a:extLst>
                <a:ext uri="{FF2B5EF4-FFF2-40B4-BE49-F238E27FC236}">
                  <a16:creationId xmlns:a16="http://schemas.microsoft.com/office/drawing/2014/main" id="{2C6B335C-A0C7-B160-DCE4-9B6E4645FC6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80342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혈당 측정 입력</a:t>
              </a:r>
              <a:endPara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  <p:sp>
          <p:nvSpPr>
            <p:cNvPr id="14" name="모서리가 둥근 직사각형 84">
              <a:extLst>
                <a:ext uri="{FF2B5EF4-FFF2-40B4-BE49-F238E27FC236}">
                  <a16:creationId xmlns:a16="http://schemas.microsoft.com/office/drawing/2014/main" id="{E231C0A9-8685-2B6F-57AA-681AA001CC0B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1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18" name="TextBox 174">
            <a:extLst>
              <a:ext uri="{FF2B5EF4-FFF2-40B4-BE49-F238E27FC236}">
                <a16:creationId xmlns:a16="http://schemas.microsoft.com/office/drawing/2014/main" id="{B93E4B3F-BD67-EEDA-BB54-D543D9F20B0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39685" y="1526737"/>
            <a:ext cx="2573667" cy="7617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측정 일시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측정 기준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혈당 수치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메모</a:t>
            </a:r>
          </a:p>
        </p:txBody>
      </p:sp>
      <p:sp>
        <p:nvSpPr>
          <p:cNvPr id="20" name="모서리가 둥근 직사각형 84">
            <a:extLst>
              <a:ext uri="{FF2B5EF4-FFF2-40B4-BE49-F238E27FC236}">
                <a16:creationId xmlns:a16="http://schemas.microsoft.com/office/drawing/2014/main" id="{C2B093F6-6800-9AE8-8778-F63903BE56F0}"/>
              </a:ext>
            </a:extLst>
          </p:cNvPr>
          <p:cNvSpPr/>
          <p:nvPr/>
        </p:nvSpPr>
        <p:spPr>
          <a:xfrm>
            <a:off x="515688" y="2708920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1</a:t>
            </a:r>
            <a:endParaRPr lang="ko-KR" altLang="en-US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23" name="모서리가 둥근 직사각형 84">
            <a:extLst>
              <a:ext uri="{FF2B5EF4-FFF2-40B4-BE49-F238E27FC236}">
                <a16:creationId xmlns:a16="http://schemas.microsoft.com/office/drawing/2014/main" id="{A092C02B-8A34-3959-1A74-953745247F3B}"/>
              </a:ext>
            </a:extLst>
          </p:cNvPr>
          <p:cNvSpPr/>
          <p:nvPr/>
        </p:nvSpPr>
        <p:spPr>
          <a:xfrm>
            <a:off x="487849" y="5932655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2</a:t>
            </a:r>
            <a:endParaRPr lang="ko-KR" altLang="en-US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grpSp>
        <p:nvGrpSpPr>
          <p:cNvPr id="24" name="그룹 23">
            <a:extLst>
              <a:ext uri="{FF2B5EF4-FFF2-40B4-BE49-F238E27FC236}">
                <a16:creationId xmlns:a16="http://schemas.microsoft.com/office/drawing/2014/main" id="{7D7F61B4-2B01-49C4-2A7D-1DE67BAFE8FD}"/>
              </a:ext>
            </a:extLst>
          </p:cNvPr>
          <p:cNvGrpSpPr/>
          <p:nvPr/>
        </p:nvGrpSpPr>
        <p:grpSpPr>
          <a:xfrm>
            <a:off x="9291190" y="2409276"/>
            <a:ext cx="956902" cy="230832"/>
            <a:chOff x="7316687" y="3282664"/>
            <a:chExt cx="956902" cy="230832"/>
          </a:xfrm>
        </p:grpSpPr>
        <p:sp>
          <p:nvSpPr>
            <p:cNvPr id="25" name="TextBox 174">
              <a:extLst>
                <a:ext uri="{FF2B5EF4-FFF2-40B4-BE49-F238E27FC236}">
                  <a16:creationId xmlns:a16="http://schemas.microsoft.com/office/drawing/2014/main" id="{1634FF1E-A6D0-016B-13D5-E167CB3096E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782587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</a:rPr>
                <a:t>기록하기 버튼</a:t>
              </a:r>
              <a:endParaRPr lang="ko-KR" altLang="en-US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  <p:sp>
          <p:nvSpPr>
            <p:cNvPr id="26" name="모서리가 둥근 직사각형 84">
              <a:extLst>
                <a:ext uri="{FF2B5EF4-FFF2-40B4-BE49-F238E27FC236}">
                  <a16:creationId xmlns:a16="http://schemas.microsoft.com/office/drawing/2014/main" id="{B682CCD4-5FC3-C8F5-9B1C-E54154DB28EB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2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7" name="TextBox 174">
            <a:extLst>
              <a:ext uri="{FF2B5EF4-FFF2-40B4-BE49-F238E27FC236}">
                <a16:creationId xmlns:a16="http://schemas.microsoft.com/office/drawing/2014/main" id="{D22A9BFD-D9BE-8A8A-5738-A0C34976CF4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39685" y="2667253"/>
            <a:ext cx="257366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클릭 시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작성한 내용을 바탕으로 혈당측정 결과를 기록</a:t>
            </a:r>
          </a:p>
        </p:txBody>
      </p:sp>
    </p:spTree>
    <p:extLst>
      <p:ext uri="{BB962C8B-B14F-4D97-AF65-F5344CB8AC3E}">
        <p14:creationId xmlns:p14="http://schemas.microsoft.com/office/powerpoint/2010/main" val="837923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9FC3D1A8-E22C-4D23-A899-216DBB82F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화면목록</a:t>
            </a:r>
          </a:p>
        </p:txBody>
      </p:sp>
      <p:graphicFrame>
        <p:nvGraphicFramePr>
          <p:cNvPr id="5" name="표 4">
            <a:extLst>
              <a:ext uri="{FF2B5EF4-FFF2-40B4-BE49-F238E27FC236}">
                <a16:creationId xmlns:a16="http://schemas.microsoft.com/office/drawing/2014/main" id="{CC2D0BAC-D7A7-42EE-8A7D-C4921F2D34F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3678734"/>
              </p:ext>
            </p:extLst>
          </p:nvPr>
        </p:nvGraphicFramePr>
        <p:xfrm>
          <a:off x="373210" y="1052736"/>
          <a:ext cx="11411424" cy="5652820"/>
        </p:xfrm>
        <a:graphic>
          <a:graphicData uri="http://schemas.openxmlformats.org/drawingml/2006/table">
            <a:tbl>
              <a:tblPr/>
              <a:tblGrid>
                <a:gridCol w="1412696">
                  <a:extLst>
                    <a:ext uri="{9D8B030D-6E8A-4147-A177-3AD203B41FA5}">
                      <a16:colId xmlns:a16="http://schemas.microsoft.com/office/drawing/2014/main" val="946738709"/>
                    </a:ext>
                  </a:extLst>
                </a:gridCol>
                <a:gridCol w="1412696">
                  <a:extLst>
                    <a:ext uri="{9D8B030D-6E8A-4147-A177-3AD203B41FA5}">
                      <a16:colId xmlns:a16="http://schemas.microsoft.com/office/drawing/2014/main" val="2660581955"/>
                    </a:ext>
                  </a:extLst>
                </a:gridCol>
                <a:gridCol w="1412696">
                  <a:extLst>
                    <a:ext uri="{9D8B030D-6E8A-4147-A177-3AD203B41FA5}">
                      <a16:colId xmlns:a16="http://schemas.microsoft.com/office/drawing/2014/main" val="1951033502"/>
                    </a:ext>
                  </a:extLst>
                </a:gridCol>
                <a:gridCol w="1412696">
                  <a:extLst>
                    <a:ext uri="{9D8B030D-6E8A-4147-A177-3AD203B41FA5}">
                      <a16:colId xmlns:a16="http://schemas.microsoft.com/office/drawing/2014/main" val="3148794155"/>
                    </a:ext>
                  </a:extLst>
                </a:gridCol>
                <a:gridCol w="5760640">
                  <a:extLst>
                    <a:ext uri="{9D8B030D-6E8A-4147-A177-3AD203B41FA5}">
                      <a16:colId xmlns:a16="http://schemas.microsoft.com/office/drawing/2014/main" val="1292155237"/>
                    </a:ext>
                  </a:extLst>
                </a:gridCol>
              </a:tblGrid>
              <a:tr h="72604">
                <a:tc>
                  <a:txBody>
                    <a:bodyPr/>
                    <a:lstStyle/>
                    <a:p>
                      <a:pPr algn="ctr"/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대메뉴</a:t>
                      </a:r>
                      <a:endParaRPr kumimoji="1" lang="ko-KR" altLang="en-US" sz="12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57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중메뉴</a:t>
                      </a:r>
                      <a:endParaRPr kumimoji="1" lang="ko-KR" altLang="en-US" sz="12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9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소메뉴</a:t>
                      </a:r>
                      <a:endParaRPr kumimoji="1" lang="ko-KR" altLang="en-US" sz="12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9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화면명</a:t>
                      </a:r>
                      <a:r>
                        <a:rPr kumimoji="1" lang="en-US" altLang="ko-KR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(</a:t>
                      </a:r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기능</a:t>
                      </a:r>
                      <a:r>
                        <a:rPr kumimoji="1" lang="en-US" altLang="ko-KR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)</a:t>
                      </a:r>
                      <a:endParaRPr kumimoji="1" lang="ko-KR" altLang="en-US" sz="1200" b="1" i="0" u="none" strike="noStrike" kern="1200" cap="none" spc="0" normalizeH="0" baseline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9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설명</a:t>
                      </a:r>
                      <a:endParaRPr kumimoji="1" lang="ko-KR" altLang="en-US" sz="12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77E9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822536"/>
                  </a:ext>
                </a:extLst>
              </a:tr>
              <a:tr h="27343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방문점검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방문점검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방문점검 캘린더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점검일정 캘린더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(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배달자 이름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배달자 연락처 등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)</a:t>
                      </a: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점검 요청 취소 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(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방문일정 확정 전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)</a:t>
                      </a: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점검 방문요청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,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 방문일정 확정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,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 방문 전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(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당일 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8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시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)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 알림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점검 처리결과 알림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서비스만족도 조사 권유 및 입력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8385880"/>
                  </a:ext>
                </a:extLst>
              </a:tr>
              <a:tr h="46068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방문점검 요청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지정 재활보조기구 예방점검 및 간편수리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재활보조기구 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QR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코드 기반 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PLM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관리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재활보조기구 특정품목 비대면 검수확인 서비스에 대한 방문점검 요청 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(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서비스기관 선택 필요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서비스기관은 사용자가 선택한 재활보조기구를 제작한 업체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)</a:t>
                      </a: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점검연한 도래에 따른 방문점검 요청</a:t>
                      </a:r>
                      <a:b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</a:b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-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점검연한 알림 후 방문점검 요청 버튼 활성화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가능기간 입력 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(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최소 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4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일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)</a:t>
                      </a: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고장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불편에 따른 방문점검 요청</a:t>
                      </a:r>
                      <a:b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</a:b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-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방문점검 메인페이지의 요청 버튼을 클릭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가능기간 입력 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(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최소 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4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일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)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0330449"/>
                  </a:ext>
                </a:extLst>
              </a:tr>
              <a:tr h="6678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방문점검 이력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점검 접수 처리현황 및 이력</a:t>
                      </a:r>
                      <a:r>
                        <a:rPr lang="en-US" altLang="ko-KR" sz="10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0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결과 조회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9967951"/>
                  </a:ext>
                </a:extLst>
              </a:tr>
              <a:tr h="6678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서비스만족도 입력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altLang="ko-KR" sz="1000" b="0" kern="1200" spc="0" baseline="0" noProof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478352"/>
                  </a:ext>
                </a:extLst>
              </a:tr>
              <a:tr h="27343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맞춤배달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맞춤배달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맞춤배달 캘린더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맞춤배달 일정 캘린더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일정 상세조회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(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배달자 이름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배달자 연락처 등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)</a:t>
                      </a: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배달 요청 취소 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(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배달일정 확정 전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)</a:t>
                      </a: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배달 방문요청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,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 방문일정 확정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,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 방문 전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(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당일 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8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시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)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 알림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배달 완료 알림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서비스만족도 조사 권유 및 입력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9264343"/>
                  </a:ext>
                </a:extLst>
              </a:tr>
              <a:tr h="135667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맞춤배달 요청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지정 재활보조기구 맞춤 배달 서비스에 대한 맞춤배달 요청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처방전 업로드 후 품목코드에 따라 맞춤배달 요청 버튼 활성화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0838392"/>
                  </a:ext>
                </a:extLst>
              </a:tr>
              <a:tr h="6678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맞춤배달 이력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배달 현황 및 이력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결과 조회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3480119"/>
                  </a:ext>
                </a:extLst>
              </a:tr>
              <a:tr h="6678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서비스만족도 입력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altLang="ko-KR" sz="1000" b="0" kern="1200" spc="0" baseline="0" noProof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0863709"/>
                  </a:ext>
                </a:extLst>
              </a:tr>
              <a:tr h="342319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스마트예약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맞춤예약 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맞춤예약 캘린더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작업수리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일정 및 재방문 일정 확정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작업수리 일정 캘린더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일정 상세조회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(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제작기사 등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)</a:t>
                      </a: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연구소 방문일정 확정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방문 전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(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당일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 8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시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)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알림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다음 방문일정 알림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작업수리 완료 알림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서비스만족도 조사 권유 및 입력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6850473"/>
                  </a:ext>
                </a:extLst>
              </a:tr>
              <a:tr h="8742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맞춤예약 요청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작업수리 요청 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(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서비스기관 선택 필요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사용자가 선별공유 대상으로 선택한 활용기관 목록에서 사용자가 선택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)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577204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맞춤예약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확정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1105612"/>
                  </a:ext>
                </a:extLst>
              </a:tr>
              <a:tr h="6678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맞춤예약 이력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작업 처리현황 및 이력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결과 조회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756215"/>
                  </a:ext>
                </a:extLst>
              </a:tr>
              <a:tr h="6678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당뇨관리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당뇨관리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-15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식단</a:t>
                      </a:r>
                      <a:r>
                        <a:rPr kumimoji="0" lang="en-US" altLang="ko-KR" sz="1000" b="0" i="0" u="none" strike="noStrike" kern="1200" cap="none" spc="-15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-15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운동법 컨텐츠 조회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7403165"/>
                  </a:ext>
                </a:extLst>
              </a:tr>
              <a:tr h="6678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혈당측정 입력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05943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5154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그림 13" descr="텍스트, 스크린샷, 폰트, 번호이(가) 표시된 사진&#10;&#10;자동 생성된 설명">
            <a:extLst>
              <a:ext uri="{FF2B5EF4-FFF2-40B4-BE49-F238E27FC236}">
                <a16:creationId xmlns:a16="http://schemas.microsoft.com/office/drawing/2014/main" id="{857751EE-7C32-AE55-07F4-ED1102151AB6}"/>
              </a:ext>
            </a:extLst>
          </p:cNvPr>
          <p:cNvPicPr>
            <a:picLocks/>
          </p:cNvPicPr>
          <p:nvPr/>
        </p:nvPicPr>
        <p:blipFill rotWithShape="1">
          <a:blip r:embed="rId2"/>
          <a:srcRect t="38" b="6154"/>
          <a:stretch/>
        </p:blipFill>
        <p:spPr>
          <a:xfrm>
            <a:off x="2880000" y="2064428"/>
            <a:ext cx="2052000" cy="4031999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12" name="그림 11" descr="텍스트, 스크린샷, 영수증, 폰트이(가) 표시된 사진&#10;&#10;자동 생성된 설명">
            <a:extLst>
              <a:ext uri="{FF2B5EF4-FFF2-40B4-BE49-F238E27FC236}">
                <a16:creationId xmlns:a16="http://schemas.microsoft.com/office/drawing/2014/main" id="{AF246027-57CE-C564-EAC8-9FDAC054150C}"/>
              </a:ext>
            </a:extLst>
          </p:cNvPr>
          <p:cNvPicPr>
            <a:picLocks/>
          </p:cNvPicPr>
          <p:nvPr/>
        </p:nvPicPr>
        <p:blipFill rotWithShape="1">
          <a:blip r:embed="rId3"/>
          <a:srcRect t="38" b="6154"/>
          <a:stretch/>
        </p:blipFill>
        <p:spPr>
          <a:xfrm>
            <a:off x="597600" y="2064428"/>
            <a:ext cx="2052000" cy="4031999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sp>
        <p:nvSpPr>
          <p:cNvPr id="2" name="제목 1">
            <a:extLst>
              <a:ext uri="{FF2B5EF4-FFF2-40B4-BE49-F238E27FC236}">
                <a16:creationId xmlns:a16="http://schemas.microsoft.com/office/drawing/2014/main" id="{0C5286BA-92CE-41FB-BB05-BE0F5BBA1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사용자 인증</a:t>
            </a:r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B73B35C2-EB8A-4573-B037-7CC6DF06F86A}"/>
              </a:ext>
            </a:extLst>
          </p:cNvPr>
          <p:cNvGrpSpPr/>
          <p:nvPr/>
        </p:nvGrpSpPr>
        <p:grpSpPr>
          <a:xfrm>
            <a:off x="0" y="-3562"/>
            <a:ext cx="9226508" cy="6816938"/>
            <a:chOff x="-1952021" y="-3562"/>
            <a:chExt cx="9226508" cy="6816938"/>
          </a:xfrm>
        </p:grpSpPr>
        <p:cxnSp>
          <p:nvCxnSpPr>
            <p:cNvPr id="6" name="직선 연결선 5">
              <a:extLst>
                <a:ext uri="{FF2B5EF4-FFF2-40B4-BE49-F238E27FC236}">
                  <a16:creationId xmlns:a16="http://schemas.microsoft.com/office/drawing/2014/main" id="{B4C45666-B8F5-4C50-86A6-C4C0BE1D6FE0}"/>
                </a:ext>
              </a:extLst>
            </p:cNvPr>
            <p:cNvCxnSpPr>
              <a:cxnSpLocks/>
            </p:cNvCxnSpPr>
            <p:nvPr/>
          </p:nvCxnSpPr>
          <p:spPr>
            <a:xfrm>
              <a:off x="7257256" y="-3562"/>
              <a:ext cx="0" cy="6816938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직선 연결선 6">
              <a:extLst>
                <a:ext uri="{FF2B5EF4-FFF2-40B4-BE49-F238E27FC236}">
                  <a16:creationId xmlns:a16="http://schemas.microsoft.com/office/drawing/2014/main" id="{4860EB04-C536-404F-98C0-823E8ADC86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1952021" y="1563825"/>
              <a:ext cx="9226508" cy="0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0B76F625-D0A3-4C9E-8D76-BC231976DDDC}"/>
              </a:ext>
            </a:extLst>
          </p:cNvPr>
          <p:cNvGrpSpPr/>
          <p:nvPr/>
        </p:nvGrpSpPr>
        <p:grpSpPr>
          <a:xfrm>
            <a:off x="479376" y="908720"/>
            <a:ext cx="6759312" cy="338554"/>
            <a:chOff x="479376" y="-963488"/>
            <a:chExt cx="6759312" cy="338554"/>
          </a:xfrm>
        </p:grpSpPr>
        <p:sp>
          <p:nvSpPr>
            <p:cNvPr id="9" name="사각형: 둥근 모서리 8">
              <a:extLst>
                <a:ext uri="{FF2B5EF4-FFF2-40B4-BE49-F238E27FC236}">
                  <a16:creationId xmlns:a16="http://schemas.microsoft.com/office/drawing/2014/main" id="{F66EE92C-BEAA-4A28-9FFE-528E99678B1D}"/>
                </a:ext>
              </a:extLst>
            </p:cNvPr>
            <p:cNvSpPr/>
            <p:nvPr/>
          </p:nvSpPr>
          <p:spPr>
            <a:xfrm>
              <a:off x="479376" y="-946863"/>
              <a:ext cx="590358" cy="305304"/>
            </a:xfrm>
            <a:prstGeom prst="roundRect">
              <a:avLst>
                <a:gd name="adj" fmla="val 50000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>
                      <a:alpha val="50000"/>
                    </a:schemeClr>
                  </a:solidFill>
                  <a:latin typeface="+mn-ea"/>
                  <a:cs typeface="Arial" panose="020B0604020202020204" pitchFamily="34" charset="0"/>
                </a:rPr>
                <a:t>0</a:t>
              </a:r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C8869CF-0725-41FD-AE4C-2AF26212AA85}"/>
                </a:ext>
              </a:extLst>
            </p:cNvPr>
            <p:cNvSpPr txBox="1"/>
            <p:nvPr/>
          </p:nvSpPr>
          <p:spPr>
            <a:xfrm>
              <a:off x="1127448" y="-963488"/>
              <a:ext cx="6111240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R="0" indent="0" algn="just" fontAlgn="base" latinLnBrk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 sz="1600" kern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defRPr>
              </a:lvl1pPr>
            </a:lstStyle>
            <a:p>
              <a:r>
                <a:rPr lang="ko-KR" altLang="en-US"/>
                <a:t>회원가입</a:t>
              </a:r>
              <a:r>
                <a:rPr lang="en-US" altLang="ko-KR" dirty="0"/>
                <a:t> – </a:t>
              </a:r>
              <a:r>
                <a:rPr lang="ko-KR" altLang="en-US"/>
                <a:t>본인 인증</a:t>
              </a:r>
              <a:endParaRPr lang="en-US" altLang="ko-KR" dirty="0"/>
            </a:p>
          </p:txBody>
        </p:sp>
      </p:grpSp>
      <p:sp>
        <p:nvSpPr>
          <p:cNvPr id="37" name="모서리가 둥근 직사각형 84">
            <a:extLst>
              <a:ext uri="{FF2B5EF4-FFF2-40B4-BE49-F238E27FC236}">
                <a16:creationId xmlns:a16="http://schemas.microsoft.com/office/drawing/2014/main" id="{3CE1637E-49B2-4BA6-B6C6-7CAA1913B0D1}"/>
              </a:ext>
            </a:extLst>
          </p:cNvPr>
          <p:cNvSpPr/>
          <p:nvPr/>
        </p:nvSpPr>
        <p:spPr>
          <a:xfrm>
            <a:off x="645992" y="4720252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2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38" name="모서리가 둥근 직사각형 84">
            <a:extLst>
              <a:ext uri="{FF2B5EF4-FFF2-40B4-BE49-F238E27FC236}">
                <a16:creationId xmlns:a16="http://schemas.microsoft.com/office/drawing/2014/main" id="{EEE944AA-26CD-476D-8392-800D6D73A320}"/>
              </a:ext>
            </a:extLst>
          </p:cNvPr>
          <p:cNvSpPr/>
          <p:nvPr/>
        </p:nvSpPr>
        <p:spPr>
          <a:xfrm>
            <a:off x="543857" y="2935449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1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40" name="모서리가 둥근 직사각형 84">
            <a:extLst>
              <a:ext uri="{FF2B5EF4-FFF2-40B4-BE49-F238E27FC236}">
                <a16:creationId xmlns:a16="http://schemas.microsoft.com/office/drawing/2014/main" id="{E424DF95-CA32-4A42-B1AB-D4E9DAF7691A}"/>
              </a:ext>
            </a:extLst>
          </p:cNvPr>
          <p:cNvSpPr/>
          <p:nvPr/>
        </p:nvSpPr>
        <p:spPr>
          <a:xfrm>
            <a:off x="2939289" y="4789409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3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41" name="모서리가 둥근 직사각형 84">
            <a:extLst>
              <a:ext uri="{FF2B5EF4-FFF2-40B4-BE49-F238E27FC236}">
                <a16:creationId xmlns:a16="http://schemas.microsoft.com/office/drawing/2014/main" id="{889CCDF4-9AD6-4D47-B8B5-60444ED0B9C6}"/>
              </a:ext>
            </a:extLst>
          </p:cNvPr>
          <p:cNvSpPr/>
          <p:nvPr/>
        </p:nvSpPr>
        <p:spPr>
          <a:xfrm>
            <a:off x="3946052" y="4760989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4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grpSp>
        <p:nvGrpSpPr>
          <p:cNvPr id="42" name="그룹 41">
            <a:extLst>
              <a:ext uri="{FF2B5EF4-FFF2-40B4-BE49-F238E27FC236}">
                <a16:creationId xmlns:a16="http://schemas.microsoft.com/office/drawing/2014/main" id="{E76027A6-DA7B-49B0-B88D-06AC33F941F5}"/>
              </a:ext>
            </a:extLst>
          </p:cNvPr>
          <p:cNvGrpSpPr/>
          <p:nvPr/>
        </p:nvGrpSpPr>
        <p:grpSpPr>
          <a:xfrm>
            <a:off x="9304745" y="1180574"/>
            <a:ext cx="2573667" cy="1259033"/>
            <a:chOff x="7031364" y="0"/>
            <a:chExt cx="2573667" cy="1259033"/>
          </a:xfrm>
        </p:grpSpPr>
        <p:grpSp>
          <p:nvGrpSpPr>
            <p:cNvPr id="43" name="그룹 42">
              <a:extLst>
                <a:ext uri="{FF2B5EF4-FFF2-40B4-BE49-F238E27FC236}">
                  <a16:creationId xmlns:a16="http://schemas.microsoft.com/office/drawing/2014/main" id="{29AE8327-22B6-4348-9EE4-7E472CCBB82D}"/>
                </a:ext>
              </a:extLst>
            </p:cNvPr>
            <p:cNvGrpSpPr/>
            <p:nvPr/>
          </p:nvGrpSpPr>
          <p:grpSpPr>
            <a:xfrm>
              <a:off x="7070591" y="0"/>
              <a:ext cx="734776" cy="230832"/>
              <a:chOff x="7316687" y="3282664"/>
              <a:chExt cx="734776" cy="230832"/>
            </a:xfrm>
          </p:grpSpPr>
          <p:sp>
            <p:nvSpPr>
              <p:cNvPr id="45" name="TextBox 174">
                <a:extLst>
                  <a:ext uri="{FF2B5EF4-FFF2-40B4-BE49-F238E27FC236}">
                    <a16:creationId xmlns:a16="http://schemas.microsoft.com/office/drawing/2014/main" id="{1B1B7E19-657A-41DD-B7CE-A47880751E92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482076" y="3282664"/>
                <a:ext cx="569387" cy="2308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>
                  <a:defRPr/>
                </a:pPr>
                <a:r>
                  <a:rPr lang="ko-KR" altLang="en-US" sz="900" b="1" spc="-150" dirty="0">
                    <a:ln>
                      <a:solidFill>
                        <a:srgbClr val="5B9BD5">
                          <a:shade val="50000"/>
                          <a:alpha val="0"/>
                        </a:srgbClr>
                      </a:solidFill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+mn-ea"/>
                    <a:ea typeface="+mn-ea"/>
                  </a:rPr>
                  <a:t>본인인증</a:t>
                </a:r>
              </a:p>
            </p:txBody>
          </p:sp>
          <p:sp>
            <p:nvSpPr>
              <p:cNvPr id="46" name="모서리가 둥근 직사각형 84">
                <a:extLst>
                  <a:ext uri="{FF2B5EF4-FFF2-40B4-BE49-F238E27FC236}">
                    <a16:creationId xmlns:a16="http://schemas.microsoft.com/office/drawing/2014/main" id="{2DF475F3-1048-43C8-9E43-1E21E5FE8670}"/>
                  </a:ext>
                </a:extLst>
              </p:cNvPr>
              <p:cNvSpPr/>
              <p:nvPr/>
            </p:nvSpPr>
            <p:spPr>
              <a:xfrm>
                <a:off x="7316687" y="3317910"/>
                <a:ext cx="185041" cy="185041"/>
              </a:xfrm>
              <a:prstGeom prst="roundRect">
                <a:avLst/>
              </a:prstGeom>
              <a:solidFill>
                <a:srgbClr val="627EA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r>
                  <a:rPr lang="en-US" altLang="ko-KR" sz="900" spc="-150" dirty="0">
                    <a:ln>
                      <a:solidFill>
                        <a:srgbClr val="5B9BD5">
                          <a:shade val="50000"/>
                          <a:alpha val="0"/>
                        </a:srgbClr>
                      </a:solidFill>
                    </a:ln>
                    <a:solidFill>
                      <a:prstClr val="white"/>
                    </a:solidFill>
                    <a:latin typeface="+mn-ea"/>
                    <a:cs typeface="Arial" panose="020B0604020202020204" pitchFamily="34" charset="0"/>
                  </a:rPr>
                  <a:t>1</a:t>
                </a:r>
                <a:endParaRPr lang="ko-KR" altLang="en-US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4" name="TextBox 174">
              <a:extLst>
                <a:ext uri="{FF2B5EF4-FFF2-40B4-BE49-F238E27FC236}">
                  <a16:creationId xmlns:a16="http://schemas.microsoft.com/office/drawing/2014/main" id="{3E7895B1-3B14-4B87-A4FE-F846F91969D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031364" y="220287"/>
              <a:ext cx="2573667" cy="10387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>
                <a:spcBef>
                  <a:spcPts val="300"/>
                </a:spcBef>
                <a:buClr>
                  <a:srgbClr val="D0A660"/>
                </a:buClr>
                <a:buSzPct val="100000"/>
                <a:defRPr/>
              </a:pPr>
              <a:r>
                <a:rPr lang="en-US" altLang="ko-KR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[</a:t>
              </a: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필수 입력정보</a:t>
              </a:r>
              <a:r>
                <a:rPr lang="en-US" altLang="ko-KR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]</a:t>
              </a:r>
            </a:p>
            <a:p>
              <a:pPr marL="176213" indent="-176213">
                <a:spcBef>
                  <a:spcPts val="300"/>
                </a:spcBef>
                <a:buClr>
                  <a:srgbClr val="D0A660"/>
                </a:buClr>
                <a:buSzPct val="100000"/>
                <a:buBlip>
                  <a:blip r:embed="rId4"/>
                </a:buBlip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이름</a:t>
              </a:r>
              <a:endParaRPr lang="en-US" altLang="ko-KR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  <a:p>
              <a:pPr marL="176213" indent="-176213">
                <a:spcBef>
                  <a:spcPts val="300"/>
                </a:spcBef>
                <a:buClr>
                  <a:srgbClr val="D0A660"/>
                </a:buClr>
                <a:buSzPct val="100000"/>
                <a:buBlip>
                  <a:blip r:embed="rId4"/>
                </a:buBlip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생년월일</a:t>
              </a:r>
              <a:r>
                <a:rPr lang="en-US" altLang="ko-KR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(YYYY-MM-DD)</a:t>
              </a:r>
              <a:br>
                <a:rPr lang="en-US" altLang="ko-KR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</a:br>
              <a:r>
                <a:rPr lang="ko-KR" altLang="en-US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예</a:t>
              </a:r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)</a:t>
              </a:r>
              <a:r>
                <a:rPr lang="ko-KR" altLang="en-US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 </a:t>
              </a:r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2000-01-01</a:t>
              </a:r>
            </a:p>
            <a:p>
              <a:pPr marL="176213" indent="-176213">
                <a:spcBef>
                  <a:spcPts val="300"/>
                </a:spcBef>
                <a:buClr>
                  <a:srgbClr val="D0A660"/>
                </a:buClr>
                <a:buSzPct val="100000"/>
                <a:buBlip>
                  <a:blip r:embed="rId4"/>
                </a:buBlip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휴대폰 번호</a:t>
              </a:r>
              <a:r>
                <a:rPr lang="en-US" altLang="ko-KR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(’-’</a:t>
              </a: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 없이</a:t>
              </a:r>
              <a:r>
                <a:rPr lang="en-US" altLang="ko-KR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)</a:t>
              </a:r>
              <a:br>
                <a:rPr lang="en-US" altLang="ko-KR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</a:br>
              <a:r>
                <a:rPr lang="ko-KR" altLang="en-US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예</a:t>
              </a:r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)</a:t>
              </a:r>
              <a:r>
                <a:rPr lang="ko-KR" altLang="en-US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 </a:t>
              </a:r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01011112222</a:t>
              </a:r>
            </a:p>
          </p:txBody>
        </p:sp>
      </p:grpSp>
      <p:grpSp>
        <p:nvGrpSpPr>
          <p:cNvPr id="47" name="그룹 46">
            <a:extLst>
              <a:ext uri="{FF2B5EF4-FFF2-40B4-BE49-F238E27FC236}">
                <a16:creationId xmlns:a16="http://schemas.microsoft.com/office/drawing/2014/main" id="{27459858-3B06-46F6-8449-18F6105F6526}"/>
              </a:ext>
            </a:extLst>
          </p:cNvPr>
          <p:cNvGrpSpPr/>
          <p:nvPr/>
        </p:nvGrpSpPr>
        <p:grpSpPr>
          <a:xfrm>
            <a:off x="9357808" y="2725400"/>
            <a:ext cx="956902" cy="230832"/>
            <a:chOff x="7316687" y="3282664"/>
            <a:chExt cx="956902" cy="230832"/>
          </a:xfrm>
        </p:grpSpPr>
        <p:sp>
          <p:nvSpPr>
            <p:cNvPr id="48" name="TextBox 174">
              <a:extLst>
                <a:ext uri="{FF2B5EF4-FFF2-40B4-BE49-F238E27FC236}">
                  <a16:creationId xmlns:a16="http://schemas.microsoft.com/office/drawing/2014/main" id="{F5789214-E496-4EB9-AF2A-1310A68E136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782587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본인인증 버튼</a:t>
              </a:r>
            </a:p>
          </p:txBody>
        </p:sp>
        <p:sp>
          <p:nvSpPr>
            <p:cNvPr id="49" name="모서리가 둥근 직사각형 84">
              <a:extLst>
                <a:ext uri="{FF2B5EF4-FFF2-40B4-BE49-F238E27FC236}">
                  <a16:creationId xmlns:a16="http://schemas.microsoft.com/office/drawing/2014/main" id="{F9C3917A-0138-42B1-823F-367BF87A7309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2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50" name="TextBox 174">
            <a:extLst>
              <a:ext uri="{FF2B5EF4-FFF2-40B4-BE49-F238E27FC236}">
                <a16:creationId xmlns:a16="http://schemas.microsoft.com/office/drawing/2014/main" id="{485396A5-FB3F-43A9-BE66-2FA5256D658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37403" y="2982144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클릭 시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카카오페이 본인인증 요청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grpSp>
        <p:nvGrpSpPr>
          <p:cNvPr id="51" name="그룹 50">
            <a:extLst>
              <a:ext uri="{FF2B5EF4-FFF2-40B4-BE49-F238E27FC236}">
                <a16:creationId xmlns:a16="http://schemas.microsoft.com/office/drawing/2014/main" id="{21C333CF-51CF-44E8-B9B2-C8F9AA07CD31}"/>
              </a:ext>
            </a:extLst>
          </p:cNvPr>
          <p:cNvGrpSpPr/>
          <p:nvPr/>
        </p:nvGrpSpPr>
        <p:grpSpPr>
          <a:xfrm>
            <a:off x="9375386" y="3345724"/>
            <a:ext cx="1170100" cy="230832"/>
            <a:chOff x="7316687" y="3282664"/>
            <a:chExt cx="1170100" cy="230832"/>
          </a:xfrm>
        </p:grpSpPr>
        <p:sp>
          <p:nvSpPr>
            <p:cNvPr id="52" name="TextBox 174">
              <a:extLst>
                <a:ext uri="{FF2B5EF4-FFF2-40B4-BE49-F238E27FC236}">
                  <a16:creationId xmlns:a16="http://schemas.microsoft.com/office/drawing/2014/main" id="{FB87B61A-C9C5-491B-B621-6B42FE369D9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99578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본인인증 완료 버튼</a:t>
              </a:r>
            </a:p>
          </p:txBody>
        </p:sp>
        <p:sp>
          <p:nvSpPr>
            <p:cNvPr id="53" name="모서리가 둥근 직사각형 84">
              <a:extLst>
                <a:ext uri="{FF2B5EF4-FFF2-40B4-BE49-F238E27FC236}">
                  <a16:creationId xmlns:a16="http://schemas.microsoft.com/office/drawing/2014/main" id="{DC8FE643-ACB7-4111-BBA7-B2440E19AD65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3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54" name="TextBox 174">
            <a:extLst>
              <a:ext uri="{FF2B5EF4-FFF2-40B4-BE49-F238E27FC236}">
                <a16:creationId xmlns:a16="http://schemas.microsoft.com/office/drawing/2014/main" id="{DB80379D-A491-45E1-9073-A6043C3515E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54981" y="3602468"/>
            <a:ext cx="2573667" cy="723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클릭 시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본인인증 완료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본인인증이 완료된 경우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[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개인정보 입력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]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화면으로 이동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본인인증이 완료되지 않은 경우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오류 메시지 표출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grpSp>
        <p:nvGrpSpPr>
          <p:cNvPr id="55" name="그룹 54">
            <a:extLst>
              <a:ext uri="{FF2B5EF4-FFF2-40B4-BE49-F238E27FC236}">
                <a16:creationId xmlns:a16="http://schemas.microsoft.com/office/drawing/2014/main" id="{52454D70-E7AE-40CD-BB0F-CFDB9ECBF3AF}"/>
              </a:ext>
            </a:extLst>
          </p:cNvPr>
          <p:cNvGrpSpPr/>
          <p:nvPr/>
        </p:nvGrpSpPr>
        <p:grpSpPr>
          <a:xfrm>
            <a:off x="9375386" y="4582219"/>
            <a:ext cx="1266281" cy="230832"/>
            <a:chOff x="7316687" y="3282664"/>
            <a:chExt cx="1266281" cy="230832"/>
          </a:xfrm>
        </p:grpSpPr>
        <p:sp>
          <p:nvSpPr>
            <p:cNvPr id="56" name="TextBox 174">
              <a:extLst>
                <a:ext uri="{FF2B5EF4-FFF2-40B4-BE49-F238E27FC236}">
                  <a16:creationId xmlns:a16="http://schemas.microsoft.com/office/drawing/2014/main" id="{5528FD8A-CC50-4706-A5BD-61000A5CC6E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1091966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본인인증 </a:t>
              </a:r>
              <a:r>
                <a:rPr lang="ko-KR" altLang="en-US" sz="900" b="1" spc="-150" dirty="0" err="1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재요청</a:t>
              </a: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 버튼</a:t>
              </a:r>
            </a:p>
          </p:txBody>
        </p:sp>
        <p:sp>
          <p:nvSpPr>
            <p:cNvPr id="57" name="모서리가 둥근 직사각형 84">
              <a:extLst>
                <a:ext uri="{FF2B5EF4-FFF2-40B4-BE49-F238E27FC236}">
                  <a16:creationId xmlns:a16="http://schemas.microsoft.com/office/drawing/2014/main" id="{A1EBDE65-E428-4A54-8F30-F0D68AF15152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4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58" name="TextBox 174">
            <a:extLst>
              <a:ext uri="{FF2B5EF4-FFF2-40B4-BE49-F238E27FC236}">
                <a16:creationId xmlns:a16="http://schemas.microsoft.com/office/drawing/2014/main" id="{52F4CA16-83D3-41A4-B375-3D5DCCF338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54981" y="4838963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4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클릭 시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카카오페이 본인인증 </a:t>
            </a:r>
            <a:r>
              <a:rPr lang="ko-KR" altLang="en-US" sz="900" spc="-150" dirty="0" err="1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재요청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73643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C5286BA-92CE-41FB-BB05-BE0F5BBA1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사용자 인증</a:t>
            </a:r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B73B35C2-EB8A-4573-B037-7CC6DF06F86A}"/>
              </a:ext>
            </a:extLst>
          </p:cNvPr>
          <p:cNvGrpSpPr/>
          <p:nvPr/>
        </p:nvGrpSpPr>
        <p:grpSpPr>
          <a:xfrm>
            <a:off x="0" y="-3562"/>
            <a:ext cx="9226508" cy="6816938"/>
            <a:chOff x="-1952021" y="-3562"/>
            <a:chExt cx="9226508" cy="6816938"/>
          </a:xfrm>
        </p:grpSpPr>
        <p:cxnSp>
          <p:nvCxnSpPr>
            <p:cNvPr id="6" name="직선 연결선 5">
              <a:extLst>
                <a:ext uri="{FF2B5EF4-FFF2-40B4-BE49-F238E27FC236}">
                  <a16:creationId xmlns:a16="http://schemas.microsoft.com/office/drawing/2014/main" id="{B4C45666-B8F5-4C50-86A6-C4C0BE1D6FE0}"/>
                </a:ext>
              </a:extLst>
            </p:cNvPr>
            <p:cNvCxnSpPr>
              <a:cxnSpLocks/>
            </p:cNvCxnSpPr>
            <p:nvPr/>
          </p:nvCxnSpPr>
          <p:spPr>
            <a:xfrm>
              <a:off x="7257256" y="-3562"/>
              <a:ext cx="0" cy="6816938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직선 연결선 6">
              <a:extLst>
                <a:ext uri="{FF2B5EF4-FFF2-40B4-BE49-F238E27FC236}">
                  <a16:creationId xmlns:a16="http://schemas.microsoft.com/office/drawing/2014/main" id="{4860EB04-C536-404F-98C0-823E8ADC86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1952021" y="1563825"/>
              <a:ext cx="9226508" cy="0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0B76F625-D0A3-4C9E-8D76-BC231976DDDC}"/>
              </a:ext>
            </a:extLst>
          </p:cNvPr>
          <p:cNvGrpSpPr/>
          <p:nvPr/>
        </p:nvGrpSpPr>
        <p:grpSpPr>
          <a:xfrm>
            <a:off x="479376" y="908720"/>
            <a:ext cx="6759312" cy="338554"/>
            <a:chOff x="479376" y="-963488"/>
            <a:chExt cx="6759312" cy="338554"/>
          </a:xfrm>
        </p:grpSpPr>
        <p:sp>
          <p:nvSpPr>
            <p:cNvPr id="9" name="사각형: 둥근 모서리 8">
              <a:extLst>
                <a:ext uri="{FF2B5EF4-FFF2-40B4-BE49-F238E27FC236}">
                  <a16:creationId xmlns:a16="http://schemas.microsoft.com/office/drawing/2014/main" id="{F66EE92C-BEAA-4A28-9FFE-528E99678B1D}"/>
                </a:ext>
              </a:extLst>
            </p:cNvPr>
            <p:cNvSpPr/>
            <p:nvPr/>
          </p:nvSpPr>
          <p:spPr>
            <a:xfrm>
              <a:off x="479376" y="-946863"/>
              <a:ext cx="590358" cy="305304"/>
            </a:xfrm>
            <a:prstGeom prst="roundRect">
              <a:avLst>
                <a:gd name="adj" fmla="val 50000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>
                      <a:alpha val="50000"/>
                    </a:schemeClr>
                  </a:solidFill>
                  <a:latin typeface="+mn-ea"/>
                  <a:cs typeface="Arial" panose="020B0604020202020204" pitchFamily="34" charset="0"/>
                </a:rPr>
                <a:t>0</a:t>
              </a:r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C8869CF-0725-41FD-AE4C-2AF26212AA85}"/>
                </a:ext>
              </a:extLst>
            </p:cNvPr>
            <p:cNvSpPr txBox="1"/>
            <p:nvPr/>
          </p:nvSpPr>
          <p:spPr>
            <a:xfrm>
              <a:off x="1127448" y="-963488"/>
              <a:ext cx="6111240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R="0" indent="0" algn="just" fontAlgn="base" latinLnBrk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 sz="1600" kern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defRPr>
              </a:lvl1pPr>
            </a:lstStyle>
            <a:p>
              <a:r>
                <a:rPr lang="ko-KR" altLang="en-US"/>
                <a:t>회원가입</a:t>
              </a:r>
              <a:r>
                <a:rPr lang="en-US" altLang="ko-KR" dirty="0"/>
                <a:t> – </a:t>
              </a:r>
              <a:r>
                <a:rPr lang="ko-KR" altLang="en-US"/>
                <a:t>본인 인증</a:t>
              </a:r>
              <a:r>
                <a:rPr lang="en-US" altLang="ko-KR" dirty="0"/>
                <a:t>(</a:t>
              </a:r>
              <a:r>
                <a:rPr lang="ko-KR" altLang="en-US"/>
                <a:t>카카오페이 인증</a:t>
              </a:r>
              <a:r>
                <a:rPr lang="en-US" altLang="ko-KR" dirty="0"/>
                <a:t>)</a:t>
              </a:r>
            </a:p>
          </p:txBody>
        </p:sp>
      </p:grpSp>
      <p:pic>
        <p:nvPicPr>
          <p:cNvPr id="32" name="그림 31" descr="텍스트이(가) 표시된 사진&#10;&#10;자동 생성된 설명">
            <a:extLst>
              <a:ext uri="{FF2B5EF4-FFF2-40B4-BE49-F238E27FC236}">
                <a16:creationId xmlns:a16="http://schemas.microsoft.com/office/drawing/2014/main" id="{3D6F6841-EE98-42E0-9D7E-206F677D8488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597600" y="2062800"/>
            <a:ext cx="2052000" cy="2304000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33" name="그림 32">
            <a:extLst>
              <a:ext uri="{FF2B5EF4-FFF2-40B4-BE49-F238E27FC236}">
                <a16:creationId xmlns:a16="http://schemas.microsoft.com/office/drawing/2014/main" id="{9B1DF39E-2ADA-48EA-9D9B-3358B17ECDDF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2880000" y="2062800"/>
            <a:ext cx="2052000" cy="4031999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34" name="그림 33" descr="도표, 원이(가) 표시된 사진&#10;&#10;자동 생성된 설명">
            <a:extLst>
              <a:ext uri="{FF2B5EF4-FFF2-40B4-BE49-F238E27FC236}">
                <a16:creationId xmlns:a16="http://schemas.microsoft.com/office/drawing/2014/main" id="{EF736F00-CCEA-44AD-97D3-40BBCA321123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5162400" y="2062801"/>
            <a:ext cx="2052000" cy="4031999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sp>
        <p:nvSpPr>
          <p:cNvPr id="35" name="모서리가 둥근 직사각형 84">
            <a:extLst>
              <a:ext uri="{FF2B5EF4-FFF2-40B4-BE49-F238E27FC236}">
                <a16:creationId xmlns:a16="http://schemas.microsoft.com/office/drawing/2014/main" id="{E17FDA5E-1322-4B1C-91E6-7FB86546889C}"/>
              </a:ext>
            </a:extLst>
          </p:cNvPr>
          <p:cNvSpPr/>
          <p:nvPr/>
        </p:nvSpPr>
        <p:spPr>
          <a:xfrm>
            <a:off x="527199" y="1906991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1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59" name="모서리가 둥근 직사각형 84">
            <a:extLst>
              <a:ext uri="{FF2B5EF4-FFF2-40B4-BE49-F238E27FC236}">
                <a16:creationId xmlns:a16="http://schemas.microsoft.com/office/drawing/2014/main" id="{21748751-86EB-43B1-B014-60D0B5E70F33}"/>
              </a:ext>
            </a:extLst>
          </p:cNvPr>
          <p:cNvSpPr/>
          <p:nvPr/>
        </p:nvSpPr>
        <p:spPr>
          <a:xfrm>
            <a:off x="2642881" y="5634942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3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60" name="모서리가 둥근 직사각형 84">
            <a:extLst>
              <a:ext uri="{FF2B5EF4-FFF2-40B4-BE49-F238E27FC236}">
                <a16:creationId xmlns:a16="http://schemas.microsoft.com/office/drawing/2014/main" id="{7BB14806-75F0-4DDE-9301-ED0AA6B342B8}"/>
              </a:ext>
            </a:extLst>
          </p:cNvPr>
          <p:cNvSpPr/>
          <p:nvPr/>
        </p:nvSpPr>
        <p:spPr>
          <a:xfrm>
            <a:off x="4846152" y="5634941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4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61" name="모서리가 둥근 직사각형 84">
            <a:extLst>
              <a:ext uri="{FF2B5EF4-FFF2-40B4-BE49-F238E27FC236}">
                <a16:creationId xmlns:a16="http://schemas.microsoft.com/office/drawing/2014/main" id="{F4A9D43F-7B13-456E-BF49-FF64C0B88625}"/>
              </a:ext>
            </a:extLst>
          </p:cNvPr>
          <p:cNvSpPr/>
          <p:nvPr/>
        </p:nvSpPr>
        <p:spPr>
          <a:xfrm>
            <a:off x="815231" y="3920044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2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grpSp>
        <p:nvGrpSpPr>
          <p:cNvPr id="62" name="그룹 61">
            <a:extLst>
              <a:ext uri="{FF2B5EF4-FFF2-40B4-BE49-F238E27FC236}">
                <a16:creationId xmlns:a16="http://schemas.microsoft.com/office/drawing/2014/main" id="{3B818835-2670-4036-B260-4EC6253960B1}"/>
              </a:ext>
            </a:extLst>
          </p:cNvPr>
          <p:cNvGrpSpPr/>
          <p:nvPr/>
        </p:nvGrpSpPr>
        <p:grpSpPr>
          <a:xfrm>
            <a:off x="9320712" y="1213232"/>
            <a:ext cx="2573667" cy="451119"/>
            <a:chOff x="7031364" y="0"/>
            <a:chExt cx="2573667" cy="451119"/>
          </a:xfrm>
        </p:grpSpPr>
        <p:grpSp>
          <p:nvGrpSpPr>
            <p:cNvPr id="63" name="그룹 62">
              <a:extLst>
                <a:ext uri="{FF2B5EF4-FFF2-40B4-BE49-F238E27FC236}">
                  <a16:creationId xmlns:a16="http://schemas.microsoft.com/office/drawing/2014/main" id="{953F8970-767A-423A-9898-AC04AD3F74DF}"/>
                </a:ext>
              </a:extLst>
            </p:cNvPr>
            <p:cNvGrpSpPr/>
            <p:nvPr/>
          </p:nvGrpSpPr>
          <p:grpSpPr>
            <a:xfrm>
              <a:off x="7070591" y="0"/>
              <a:ext cx="1140336" cy="230832"/>
              <a:chOff x="7316687" y="3282664"/>
              <a:chExt cx="1140336" cy="230832"/>
            </a:xfrm>
          </p:grpSpPr>
          <p:sp>
            <p:nvSpPr>
              <p:cNvPr id="65" name="TextBox 174">
                <a:extLst>
                  <a:ext uri="{FF2B5EF4-FFF2-40B4-BE49-F238E27FC236}">
                    <a16:creationId xmlns:a16="http://schemas.microsoft.com/office/drawing/2014/main" id="{8C5DFDE5-A2F8-4889-ACE8-F9FE172947A9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482076" y="3282664"/>
                <a:ext cx="974947" cy="2308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>
                  <a:defRPr/>
                </a:pPr>
                <a:r>
                  <a:rPr lang="ko-KR" altLang="en-US" sz="900" b="1" spc="-150" dirty="0">
                    <a:ln>
                      <a:solidFill>
                        <a:srgbClr val="5B9BD5">
                          <a:shade val="50000"/>
                          <a:alpha val="0"/>
                        </a:srgbClr>
                      </a:solidFill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+mn-ea"/>
                    <a:ea typeface="+mn-ea"/>
                  </a:rPr>
                  <a:t>카카오페이 </a:t>
                </a:r>
                <a:r>
                  <a:rPr lang="ko-KR" altLang="en-US" sz="900" b="1" spc="-150" dirty="0" err="1">
                    <a:ln>
                      <a:solidFill>
                        <a:srgbClr val="5B9BD5">
                          <a:shade val="50000"/>
                          <a:alpha val="0"/>
                        </a:srgbClr>
                      </a:solidFill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+mn-ea"/>
                    <a:ea typeface="+mn-ea"/>
                  </a:rPr>
                  <a:t>알림톡</a:t>
                </a:r>
                <a:endPara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endParaRPr>
              </a:p>
            </p:txBody>
          </p:sp>
          <p:sp>
            <p:nvSpPr>
              <p:cNvPr id="66" name="모서리가 둥근 직사각형 84">
                <a:extLst>
                  <a:ext uri="{FF2B5EF4-FFF2-40B4-BE49-F238E27FC236}">
                    <a16:creationId xmlns:a16="http://schemas.microsoft.com/office/drawing/2014/main" id="{97EAD537-E0B3-4737-A5A7-33471B33697F}"/>
                  </a:ext>
                </a:extLst>
              </p:cNvPr>
              <p:cNvSpPr/>
              <p:nvPr/>
            </p:nvSpPr>
            <p:spPr>
              <a:xfrm>
                <a:off x="7316687" y="3317910"/>
                <a:ext cx="185041" cy="185041"/>
              </a:xfrm>
              <a:prstGeom prst="roundRect">
                <a:avLst/>
              </a:prstGeom>
              <a:solidFill>
                <a:srgbClr val="627EA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r>
                  <a:rPr lang="en-US" altLang="ko-KR" sz="900" spc="-150" dirty="0">
                    <a:ln>
                      <a:solidFill>
                        <a:srgbClr val="5B9BD5">
                          <a:shade val="50000"/>
                          <a:alpha val="0"/>
                        </a:srgbClr>
                      </a:solidFill>
                    </a:ln>
                    <a:solidFill>
                      <a:prstClr val="white"/>
                    </a:solidFill>
                    <a:latin typeface="+mn-ea"/>
                    <a:cs typeface="Arial" panose="020B0604020202020204" pitchFamily="34" charset="0"/>
                  </a:rPr>
                  <a:t>1</a:t>
                </a:r>
                <a:endParaRPr lang="ko-KR" altLang="en-US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64" name="TextBox 174">
              <a:extLst>
                <a:ext uri="{FF2B5EF4-FFF2-40B4-BE49-F238E27FC236}">
                  <a16:creationId xmlns:a16="http://schemas.microsoft.com/office/drawing/2014/main" id="{85091433-B4E9-4CF7-B9F6-923C0B9B868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031364" y="220287"/>
              <a:ext cx="2573667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176213" indent="-176213">
                <a:spcBef>
                  <a:spcPts val="300"/>
                </a:spcBef>
                <a:buClr>
                  <a:srgbClr val="D0A660"/>
                </a:buClr>
                <a:buSzPct val="100000"/>
                <a:buBlip>
                  <a:blip r:embed="rId5"/>
                </a:buBlip>
                <a:defRPr/>
              </a:pPr>
              <a:r>
                <a:rPr lang="ko-KR" altLang="en-US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본인인증 요청 시</a:t>
              </a:r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,</a:t>
              </a:r>
              <a:r>
                <a:rPr lang="ko-KR" altLang="en-US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 카카오페이 </a:t>
              </a:r>
              <a:r>
                <a:rPr lang="ko-KR" altLang="en-US" sz="900" spc="-150" dirty="0" err="1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알림톡</a:t>
              </a:r>
              <a:r>
                <a:rPr lang="ko-KR" altLang="en-US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 수신</a:t>
              </a:r>
              <a:endPara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</p:grpSp>
      <p:grpSp>
        <p:nvGrpSpPr>
          <p:cNvPr id="67" name="그룹 66">
            <a:extLst>
              <a:ext uri="{FF2B5EF4-FFF2-40B4-BE49-F238E27FC236}">
                <a16:creationId xmlns:a16="http://schemas.microsoft.com/office/drawing/2014/main" id="{89309FF4-D1A1-4252-90F9-F55AACB8B06F}"/>
              </a:ext>
            </a:extLst>
          </p:cNvPr>
          <p:cNvGrpSpPr/>
          <p:nvPr/>
        </p:nvGrpSpPr>
        <p:grpSpPr>
          <a:xfrm>
            <a:off x="9375386" y="1826852"/>
            <a:ext cx="956902" cy="230832"/>
            <a:chOff x="7316687" y="3282664"/>
            <a:chExt cx="956902" cy="230832"/>
          </a:xfrm>
        </p:grpSpPr>
        <p:sp>
          <p:nvSpPr>
            <p:cNvPr id="68" name="TextBox 174">
              <a:extLst>
                <a:ext uri="{FF2B5EF4-FFF2-40B4-BE49-F238E27FC236}">
                  <a16:creationId xmlns:a16="http://schemas.microsoft.com/office/drawing/2014/main" id="{11B2A7C8-0A2F-4081-A73B-CAABF11B97D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782587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확인하기 버튼</a:t>
              </a:r>
            </a:p>
          </p:txBody>
        </p:sp>
        <p:sp>
          <p:nvSpPr>
            <p:cNvPr id="69" name="모서리가 둥근 직사각형 84">
              <a:extLst>
                <a:ext uri="{FF2B5EF4-FFF2-40B4-BE49-F238E27FC236}">
                  <a16:creationId xmlns:a16="http://schemas.microsoft.com/office/drawing/2014/main" id="{0978DE6C-B009-4875-9CBE-283561C7F6BB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2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70" name="TextBox 174">
            <a:extLst>
              <a:ext uri="{FF2B5EF4-FFF2-40B4-BE49-F238E27FC236}">
                <a16:creationId xmlns:a16="http://schemas.microsoft.com/office/drawing/2014/main" id="{6E1A559E-2F82-45DA-BE13-EC8FF8CBB30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54981" y="2083596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클릭 시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인증정보 확인  화면으로 이동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grpSp>
        <p:nvGrpSpPr>
          <p:cNvPr id="71" name="그룹 70">
            <a:extLst>
              <a:ext uri="{FF2B5EF4-FFF2-40B4-BE49-F238E27FC236}">
                <a16:creationId xmlns:a16="http://schemas.microsoft.com/office/drawing/2014/main" id="{9823CB5F-CAEF-44C1-9D88-6F91B4FFF699}"/>
              </a:ext>
            </a:extLst>
          </p:cNvPr>
          <p:cNvGrpSpPr/>
          <p:nvPr/>
        </p:nvGrpSpPr>
        <p:grpSpPr>
          <a:xfrm>
            <a:off x="9375386" y="2447177"/>
            <a:ext cx="956902" cy="230832"/>
            <a:chOff x="7316687" y="3282664"/>
            <a:chExt cx="956902" cy="230832"/>
          </a:xfrm>
        </p:grpSpPr>
        <p:sp>
          <p:nvSpPr>
            <p:cNvPr id="72" name="TextBox 174">
              <a:extLst>
                <a:ext uri="{FF2B5EF4-FFF2-40B4-BE49-F238E27FC236}">
                  <a16:creationId xmlns:a16="http://schemas.microsoft.com/office/drawing/2014/main" id="{61298208-9309-4FBB-9245-B5A446FF59F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782587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인증하기 버튼</a:t>
              </a:r>
            </a:p>
          </p:txBody>
        </p:sp>
        <p:sp>
          <p:nvSpPr>
            <p:cNvPr id="73" name="모서리가 둥근 직사각형 84">
              <a:extLst>
                <a:ext uri="{FF2B5EF4-FFF2-40B4-BE49-F238E27FC236}">
                  <a16:creationId xmlns:a16="http://schemas.microsoft.com/office/drawing/2014/main" id="{3B241955-AB36-4268-982D-8BE1E2531AF1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3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74" name="TextBox 174">
            <a:extLst>
              <a:ext uri="{FF2B5EF4-FFF2-40B4-BE49-F238E27FC236}">
                <a16:creationId xmlns:a16="http://schemas.microsoft.com/office/drawing/2014/main" id="{569033C7-CF4E-463D-9899-A40D533E1D3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54981" y="2703921"/>
            <a:ext cx="2573667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클릭 시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본인인증 화면으로 이동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비밀번호 또는 생체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ID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를 통해 본인인증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카카오페이 인증서가 없는 경우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발급 필요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</p:txBody>
      </p:sp>
      <p:grpSp>
        <p:nvGrpSpPr>
          <p:cNvPr id="75" name="그룹 74">
            <a:extLst>
              <a:ext uri="{FF2B5EF4-FFF2-40B4-BE49-F238E27FC236}">
                <a16:creationId xmlns:a16="http://schemas.microsoft.com/office/drawing/2014/main" id="{5930CA12-5D39-4ECC-B9B7-6C5ECC1B2C3E}"/>
              </a:ext>
            </a:extLst>
          </p:cNvPr>
          <p:cNvGrpSpPr/>
          <p:nvPr/>
        </p:nvGrpSpPr>
        <p:grpSpPr>
          <a:xfrm>
            <a:off x="9375386" y="3502099"/>
            <a:ext cx="1194146" cy="230832"/>
            <a:chOff x="7316687" y="3282664"/>
            <a:chExt cx="1194146" cy="230832"/>
          </a:xfrm>
        </p:grpSpPr>
        <p:sp>
          <p:nvSpPr>
            <p:cNvPr id="76" name="TextBox 174">
              <a:extLst>
                <a:ext uri="{FF2B5EF4-FFF2-40B4-BE49-F238E27FC236}">
                  <a16:creationId xmlns:a16="http://schemas.microsoft.com/office/drawing/2014/main" id="{E6A1BB6A-4116-42DE-A615-0E853286F4C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1019831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확인하기</a:t>
              </a:r>
              <a:r>
                <a:rPr lang="en-US" altLang="ko-KR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(</a:t>
              </a: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완료</a:t>
              </a:r>
              <a:r>
                <a:rPr lang="en-US" altLang="ko-KR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)</a:t>
              </a: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 버튼</a:t>
              </a:r>
            </a:p>
          </p:txBody>
        </p:sp>
        <p:sp>
          <p:nvSpPr>
            <p:cNvPr id="77" name="모서리가 둥근 직사각형 84">
              <a:extLst>
                <a:ext uri="{FF2B5EF4-FFF2-40B4-BE49-F238E27FC236}">
                  <a16:creationId xmlns:a16="http://schemas.microsoft.com/office/drawing/2014/main" id="{B9A50D66-BCC7-4DC5-8D34-F096C0C58D38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4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78" name="TextBox 174">
            <a:extLst>
              <a:ext uri="{FF2B5EF4-FFF2-40B4-BE49-F238E27FC236}">
                <a16:creationId xmlns:a16="http://schemas.microsoft.com/office/drawing/2014/main" id="{2A33C656-F052-4598-ADD4-EA9CC3DED73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54981" y="3758843"/>
            <a:ext cx="257366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5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클릭 시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</a:rPr>
              <a:t> 카카오페이 본인인증 완료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429424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 descr="텍스트, 영수증, 스크린샷, 폰트이(가) 표시된 사진&#10;&#10;자동 생성된 설명">
            <a:extLst>
              <a:ext uri="{FF2B5EF4-FFF2-40B4-BE49-F238E27FC236}">
                <a16:creationId xmlns:a16="http://schemas.microsoft.com/office/drawing/2014/main" id="{56373409-F0EF-00B6-05FB-8E45BFFEB86D}"/>
              </a:ext>
            </a:extLst>
          </p:cNvPr>
          <p:cNvPicPr>
            <a:picLocks/>
          </p:cNvPicPr>
          <p:nvPr/>
        </p:nvPicPr>
        <p:blipFill rotWithShape="1">
          <a:blip r:embed="rId2"/>
          <a:srcRect t="122" b="5199"/>
          <a:stretch/>
        </p:blipFill>
        <p:spPr>
          <a:xfrm>
            <a:off x="597600" y="2062801"/>
            <a:ext cx="2052000" cy="4031999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</p:pic>
      <p:sp>
        <p:nvSpPr>
          <p:cNvPr id="2" name="제목 1">
            <a:extLst>
              <a:ext uri="{FF2B5EF4-FFF2-40B4-BE49-F238E27FC236}">
                <a16:creationId xmlns:a16="http://schemas.microsoft.com/office/drawing/2014/main" id="{0C5286BA-92CE-41FB-BB05-BE0F5BBA1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사용자 인증</a:t>
            </a:r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B73B35C2-EB8A-4573-B037-7CC6DF06F86A}"/>
              </a:ext>
            </a:extLst>
          </p:cNvPr>
          <p:cNvGrpSpPr/>
          <p:nvPr/>
        </p:nvGrpSpPr>
        <p:grpSpPr>
          <a:xfrm>
            <a:off x="-50307" y="0"/>
            <a:ext cx="9226508" cy="6816938"/>
            <a:chOff x="-1952021" y="-3562"/>
            <a:chExt cx="9226508" cy="6816938"/>
          </a:xfrm>
        </p:grpSpPr>
        <p:cxnSp>
          <p:nvCxnSpPr>
            <p:cNvPr id="6" name="직선 연결선 5">
              <a:extLst>
                <a:ext uri="{FF2B5EF4-FFF2-40B4-BE49-F238E27FC236}">
                  <a16:creationId xmlns:a16="http://schemas.microsoft.com/office/drawing/2014/main" id="{B4C45666-B8F5-4C50-86A6-C4C0BE1D6FE0}"/>
                </a:ext>
              </a:extLst>
            </p:cNvPr>
            <p:cNvCxnSpPr>
              <a:cxnSpLocks/>
            </p:cNvCxnSpPr>
            <p:nvPr/>
          </p:nvCxnSpPr>
          <p:spPr>
            <a:xfrm>
              <a:off x="7257256" y="-3562"/>
              <a:ext cx="0" cy="6816938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직선 연결선 6">
              <a:extLst>
                <a:ext uri="{FF2B5EF4-FFF2-40B4-BE49-F238E27FC236}">
                  <a16:creationId xmlns:a16="http://schemas.microsoft.com/office/drawing/2014/main" id="{4860EB04-C536-404F-98C0-823E8ADC86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1952021" y="1563825"/>
              <a:ext cx="9226508" cy="0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0B76F625-D0A3-4C9E-8D76-BC231976DDDC}"/>
              </a:ext>
            </a:extLst>
          </p:cNvPr>
          <p:cNvGrpSpPr/>
          <p:nvPr/>
        </p:nvGrpSpPr>
        <p:grpSpPr>
          <a:xfrm>
            <a:off x="479376" y="908720"/>
            <a:ext cx="6759312" cy="338554"/>
            <a:chOff x="479376" y="-963488"/>
            <a:chExt cx="6759312" cy="338554"/>
          </a:xfrm>
        </p:grpSpPr>
        <p:sp>
          <p:nvSpPr>
            <p:cNvPr id="9" name="사각형: 둥근 모서리 8">
              <a:extLst>
                <a:ext uri="{FF2B5EF4-FFF2-40B4-BE49-F238E27FC236}">
                  <a16:creationId xmlns:a16="http://schemas.microsoft.com/office/drawing/2014/main" id="{F66EE92C-BEAA-4A28-9FFE-528E99678B1D}"/>
                </a:ext>
              </a:extLst>
            </p:cNvPr>
            <p:cNvSpPr/>
            <p:nvPr/>
          </p:nvSpPr>
          <p:spPr>
            <a:xfrm>
              <a:off x="479376" y="-946863"/>
              <a:ext cx="590358" cy="305304"/>
            </a:xfrm>
            <a:prstGeom prst="roundRect">
              <a:avLst>
                <a:gd name="adj" fmla="val 50000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>
                      <a:alpha val="50000"/>
                    </a:schemeClr>
                  </a:solidFill>
                  <a:latin typeface="+mn-ea"/>
                  <a:cs typeface="Arial" panose="020B0604020202020204" pitchFamily="34" charset="0"/>
                </a:rPr>
                <a:t>0</a:t>
              </a:r>
              <a:r>
                <a:rPr lang="en-US" altLang="ko-KR" sz="1400" b="1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C8869CF-0725-41FD-AE4C-2AF26212AA85}"/>
                </a:ext>
              </a:extLst>
            </p:cNvPr>
            <p:cNvSpPr txBox="1"/>
            <p:nvPr/>
          </p:nvSpPr>
          <p:spPr>
            <a:xfrm>
              <a:off x="1127448" y="-963488"/>
              <a:ext cx="6111240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R="0" indent="0" algn="just" fontAlgn="base" latinLnBrk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 sz="1600" kern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defRPr>
              </a:lvl1pPr>
            </a:lstStyle>
            <a:p>
              <a:r>
                <a:rPr lang="ko-KR" altLang="en-US"/>
                <a:t>회원가입</a:t>
              </a:r>
              <a:r>
                <a:rPr lang="en-US" altLang="ko-KR" dirty="0"/>
                <a:t> – </a:t>
              </a:r>
              <a:r>
                <a:rPr lang="ko-KR" altLang="en-US" dirty="0"/>
                <a:t>개인 </a:t>
              </a:r>
              <a:r>
                <a:rPr lang="ko-KR" altLang="en-US"/>
                <a:t>정보 입력</a:t>
              </a:r>
              <a:endParaRPr lang="en-US" altLang="ko-KR" dirty="0"/>
            </a:p>
          </p:txBody>
        </p:sp>
      </p:grpSp>
      <p:sp>
        <p:nvSpPr>
          <p:cNvPr id="13" name="모서리가 둥근 직사각형 84">
            <a:extLst>
              <a:ext uri="{FF2B5EF4-FFF2-40B4-BE49-F238E27FC236}">
                <a16:creationId xmlns:a16="http://schemas.microsoft.com/office/drawing/2014/main" id="{3BD27B1B-4508-43FB-BC9F-3F62EC6B0EE0}"/>
              </a:ext>
            </a:extLst>
          </p:cNvPr>
          <p:cNvSpPr/>
          <p:nvPr/>
        </p:nvSpPr>
        <p:spPr>
          <a:xfrm>
            <a:off x="487849" y="2720832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1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  <p:grpSp>
        <p:nvGrpSpPr>
          <p:cNvPr id="14" name="그룹 13">
            <a:extLst>
              <a:ext uri="{FF2B5EF4-FFF2-40B4-BE49-F238E27FC236}">
                <a16:creationId xmlns:a16="http://schemas.microsoft.com/office/drawing/2014/main" id="{99D77371-21D0-48B1-A82F-A6E7E2B7FC86}"/>
              </a:ext>
            </a:extLst>
          </p:cNvPr>
          <p:cNvGrpSpPr/>
          <p:nvPr/>
        </p:nvGrpSpPr>
        <p:grpSpPr>
          <a:xfrm>
            <a:off x="9282973" y="1196752"/>
            <a:ext cx="2573667" cy="1474476"/>
            <a:chOff x="7031364" y="0"/>
            <a:chExt cx="2573667" cy="1474476"/>
          </a:xfrm>
        </p:grpSpPr>
        <p:grpSp>
          <p:nvGrpSpPr>
            <p:cNvPr id="15" name="그룹 14">
              <a:extLst>
                <a:ext uri="{FF2B5EF4-FFF2-40B4-BE49-F238E27FC236}">
                  <a16:creationId xmlns:a16="http://schemas.microsoft.com/office/drawing/2014/main" id="{E0304DC5-A8C8-423B-953B-DA589701F5F8}"/>
                </a:ext>
              </a:extLst>
            </p:cNvPr>
            <p:cNvGrpSpPr/>
            <p:nvPr/>
          </p:nvGrpSpPr>
          <p:grpSpPr>
            <a:xfrm>
              <a:off x="7070591" y="0"/>
              <a:ext cx="947976" cy="230832"/>
              <a:chOff x="7316687" y="3282664"/>
              <a:chExt cx="947976" cy="230832"/>
            </a:xfrm>
          </p:grpSpPr>
          <p:sp>
            <p:nvSpPr>
              <p:cNvPr id="17" name="TextBox 174">
                <a:extLst>
                  <a:ext uri="{FF2B5EF4-FFF2-40B4-BE49-F238E27FC236}">
                    <a16:creationId xmlns:a16="http://schemas.microsoft.com/office/drawing/2014/main" id="{DDB1621D-C10B-4DA2-A446-94DCB3C013E9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482076" y="3282664"/>
                <a:ext cx="782587" cy="2308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>
                  <a:defRPr/>
                </a:pPr>
                <a:r>
                  <a:rPr lang="ko-KR" altLang="en-US" sz="900" b="1" spc="-150" dirty="0">
                    <a:ln>
                      <a:solidFill>
                        <a:srgbClr val="5B9BD5">
                          <a:shade val="50000"/>
                          <a:alpha val="0"/>
                        </a:srgbClr>
                      </a:solidFill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+mn-ea"/>
                    <a:ea typeface="+mn-ea"/>
                  </a:rPr>
                  <a:t>개인정보 입력</a:t>
                </a:r>
              </a:p>
            </p:txBody>
          </p:sp>
          <p:sp>
            <p:nvSpPr>
              <p:cNvPr id="18" name="모서리가 둥근 직사각형 84">
                <a:extLst>
                  <a:ext uri="{FF2B5EF4-FFF2-40B4-BE49-F238E27FC236}">
                    <a16:creationId xmlns:a16="http://schemas.microsoft.com/office/drawing/2014/main" id="{A383F62A-9EA0-47AF-8472-EA5277881020}"/>
                  </a:ext>
                </a:extLst>
              </p:cNvPr>
              <p:cNvSpPr/>
              <p:nvPr/>
            </p:nvSpPr>
            <p:spPr>
              <a:xfrm>
                <a:off x="7316687" y="3317910"/>
                <a:ext cx="185041" cy="185041"/>
              </a:xfrm>
              <a:prstGeom prst="roundRect">
                <a:avLst/>
              </a:prstGeom>
              <a:solidFill>
                <a:srgbClr val="627EA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r>
                  <a:rPr lang="en-US" altLang="ko-KR" sz="900" spc="-150" dirty="0">
                    <a:ln>
                      <a:solidFill>
                        <a:srgbClr val="5B9BD5">
                          <a:shade val="50000"/>
                          <a:alpha val="0"/>
                        </a:srgbClr>
                      </a:solidFill>
                    </a:ln>
                    <a:solidFill>
                      <a:prstClr val="white"/>
                    </a:solidFill>
                    <a:latin typeface="+mn-ea"/>
                    <a:cs typeface="Arial" panose="020B0604020202020204" pitchFamily="34" charset="0"/>
                  </a:rPr>
                  <a:t>1</a:t>
                </a:r>
                <a:endParaRPr lang="ko-KR" altLang="en-US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6" name="TextBox 174">
              <a:extLst>
                <a:ext uri="{FF2B5EF4-FFF2-40B4-BE49-F238E27FC236}">
                  <a16:creationId xmlns:a16="http://schemas.microsoft.com/office/drawing/2014/main" id="{D3E1A7E7-6BF7-4103-B62D-ACF4BBC437A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031364" y="220287"/>
              <a:ext cx="2573667" cy="12541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>
                <a:spcBef>
                  <a:spcPts val="300"/>
                </a:spcBef>
                <a:buClr>
                  <a:srgbClr val="D0A660"/>
                </a:buClr>
                <a:buSzPct val="100000"/>
                <a:defRPr/>
              </a:pPr>
              <a:r>
                <a:rPr lang="en-US" altLang="ko-KR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[</a:t>
              </a: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필수 입력정보</a:t>
              </a:r>
              <a:r>
                <a:rPr lang="en-US" altLang="ko-KR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]</a:t>
              </a:r>
            </a:p>
            <a:p>
              <a:pPr marL="176213" indent="-176213">
                <a:spcBef>
                  <a:spcPts val="300"/>
                </a:spcBef>
                <a:buClr>
                  <a:srgbClr val="D0A660"/>
                </a:buClr>
                <a:buSzPct val="100000"/>
                <a:buBlip>
                  <a:blip r:embed="rId3"/>
                </a:buBlip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아이디</a:t>
              </a:r>
              <a:endParaRPr lang="en-US" altLang="ko-KR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  <a:p>
              <a:pPr marL="176213" indent="-176213">
                <a:spcBef>
                  <a:spcPts val="300"/>
                </a:spcBef>
                <a:buClr>
                  <a:srgbClr val="D0A660"/>
                </a:buClr>
                <a:buSzPct val="100000"/>
                <a:buBlip>
                  <a:blip r:embed="rId3"/>
                </a:buBlip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비밀번호</a:t>
              </a:r>
              <a:br>
                <a:rPr lang="en-US" altLang="ko-KR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</a:br>
              <a:r>
                <a:rPr lang="en-US" altLang="ko-KR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(</a:t>
              </a:r>
              <a:r>
                <a:rPr lang="ko-KR" altLang="en-US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영문자</a:t>
              </a:r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,</a:t>
              </a:r>
              <a:r>
                <a:rPr lang="ko-KR" altLang="en-US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 숫자</a:t>
              </a:r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,</a:t>
              </a:r>
              <a:r>
                <a:rPr lang="ko-KR" altLang="en-US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 특수문자 조합 </a:t>
              </a:r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8~</a:t>
              </a:r>
              <a:r>
                <a:rPr lang="ko-KR" altLang="en-US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 </a:t>
              </a:r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20</a:t>
              </a:r>
              <a:r>
                <a:rPr lang="ko-KR" altLang="en-US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자</a:t>
              </a:r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)</a:t>
              </a:r>
            </a:p>
            <a:p>
              <a:pPr marL="176213" indent="-176213">
                <a:spcBef>
                  <a:spcPts val="300"/>
                </a:spcBef>
                <a:buClr>
                  <a:srgbClr val="D0A660"/>
                </a:buClr>
                <a:buSzPct val="100000"/>
                <a:buBlip>
                  <a:blip r:embed="rId3"/>
                </a:buBlip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비밀번호 확인</a:t>
              </a:r>
              <a:endParaRPr lang="en-US" altLang="ko-KR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  <a:p>
              <a:pPr marL="176213" indent="-176213">
                <a:spcBef>
                  <a:spcPts val="300"/>
                </a:spcBef>
                <a:buClr>
                  <a:srgbClr val="D0A660"/>
                </a:buClr>
                <a:buSzPct val="100000"/>
                <a:buBlip>
                  <a:blip r:embed="rId3"/>
                </a:buBlip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이메일</a:t>
              </a:r>
              <a:endParaRPr lang="en-US" altLang="ko-KR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  <a:p>
              <a:pPr marL="176213" indent="-176213">
                <a:spcBef>
                  <a:spcPts val="300"/>
                </a:spcBef>
                <a:buClr>
                  <a:srgbClr val="D0A660"/>
                </a:buClr>
                <a:buSzPct val="100000"/>
                <a:buBlip>
                  <a:blip r:embed="rId3"/>
                </a:buBlip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주소</a:t>
              </a:r>
              <a:endParaRPr lang="en-US" altLang="ko-KR" sz="900" b="1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endParaRPr>
            </a:p>
          </p:txBody>
        </p:sp>
      </p:grpSp>
      <p:grpSp>
        <p:nvGrpSpPr>
          <p:cNvPr id="19" name="그룹 18">
            <a:extLst>
              <a:ext uri="{FF2B5EF4-FFF2-40B4-BE49-F238E27FC236}">
                <a16:creationId xmlns:a16="http://schemas.microsoft.com/office/drawing/2014/main" id="{7D1DD8A0-14ED-4E3E-BB10-541D5D81D41A}"/>
              </a:ext>
            </a:extLst>
          </p:cNvPr>
          <p:cNvGrpSpPr/>
          <p:nvPr/>
        </p:nvGrpSpPr>
        <p:grpSpPr>
          <a:xfrm>
            <a:off x="9322200" y="2905873"/>
            <a:ext cx="1383300" cy="230832"/>
            <a:chOff x="7316687" y="3282664"/>
            <a:chExt cx="1383300" cy="230832"/>
          </a:xfrm>
        </p:grpSpPr>
        <p:sp>
          <p:nvSpPr>
            <p:cNvPr id="20" name="TextBox 174">
              <a:extLst>
                <a:ext uri="{FF2B5EF4-FFF2-40B4-BE49-F238E27FC236}">
                  <a16:creationId xmlns:a16="http://schemas.microsoft.com/office/drawing/2014/main" id="{9EDB7A9F-D4B6-4057-A9AC-C197F591EA0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91002" y="3282664"/>
              <a:ext cx="120898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900" b="1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</a:rPr>
                <a:t>개인정보 입력 완료 버튼</a:t>
              </a:r>
            </a:p>
          </p:txBody>
        </p:sp>
        <p:sp>
          <p:nvSpPr>
            <p:cNvPr id="21" name="모서리가 둥근 직사각형 84">
              <a:extLst>
                <a:ext uri="{FF2B5EF4-FFF2-40B4-BE49-F238E27FC236}">
                  <a16:creationId xmlns:a16="http://schemas.microsoft.com/office/drawing/2014/main" id="{F30F6B88-2156-4DCC-BFC3-C474432E4E44}"/>
                </a:ext>
              </a:extLst>
            </p:cNvPr>
            <p:cNvSpPr/>
            <p:nvPr/>
          </p:nvSpPr>
          <p:spPr>
            <a:xfrm>
              <a:off x="7316687" y="3317910"/>
              <a:ext cx="185041" cy="185041"/>
            </a:xfrm>
            <a:prstGeom prst="roundRect">
              <a:avLst/>
            </a:prstGeom>
            <a:solidFill>
              <a:srgbClr val="627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ko-KR" sz="900" spc="-150" dirty="0">
                  <a:ln>
                    <a:solidFill>
                      <a:srgbClr val="5B9BD5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+mn-ea"/>
                  <a:cs typeface="Arial" panose="020B0604020202020204" pitchFamily="34" charset="0"/>
                </a:rPr>
                <a:t>2</a:t>
              </a:r>
              <a:endPara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2" name="TextBox 174">
            <a:extLst>
              <a:ext uri="{FF2B5EF4-FFF2-40B4-BE49-F238E27FC236}">
                <a16:creationId xmlns:a16="http://schemas.microsoft.com/office/drawing/2014/main" id="{86B6CC8F-46D4-48D8-B1D7-221D6CBED44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82972" y="3126160"/>
            <a:ext cx="2573667" cy="4078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3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필수  입력정보를 올바르게 입력하면 활성화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  <a:p>
            <a:pPr marL="176213" indent="-176213">
              <a:spcBef>
                <a:spcPts val="300"/>
              </a:spcBef>
              <a:buClr>
                <a:srgbClr val="D0A660"/>
              </a:buClr>
              <a:buSzPct val="100000"/>
              <a:buBlip>
                <a:blip r:embed="rId3"/>
              </a:buBlip>
              <a:defRPr/>
            </a:pP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클릭 시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,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[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약관 및 정책 동의</a:t>
            </a:r>
            <a:r>
              <a:rPr lang="en-US" altLang="ko-KR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]</a:t>
            </a:r>
            <a:r>
              <a:rPr lang="ko-KR" altLang="en-US" sz="9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</a:rPr>
              <a:t> 화면으로 이동</a:t>
            </a:r>
            <a:endParaRPr lang="en-US" altLang="ko-KR" sz="9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+mn-ea"/>
              <a:ea typeface="+mn-ea"/>
            </a:endParaRPr>
          </a:p>
        </p:txBody>
      </p:sp>
      <p:pic>
        <p:nvPicPr>
          <p:cNvPr id="24" name="그림 23" descr="텍스트, 스크린샷, 폰트, 번호이(가) 표시된 사진&#10;&#10;자동 생성된 설명">
            <a:extLst>
              <a:ext uri="{FF2B5EF4-FFF2-40B4-BE49-F238E27FC236}">
                <a16:creationId xmlns:a16="http://schemas.microsoft.com/office/drawing/2014/main" id="{992AD48C-11A5-7569-E9F1-9B5B048AA165}"/>
              </a:ext>
            </a:extLst>
          </p:cNvPr>
          <p:cNvPicPr>
            <a:picLocks/>
          </p:cNvPicPr>
          <p:nvPr/>
        </p:nvPicPr>
        <p:blipFill rotWithShape="1">
          <a:blip r:embed="rId4"/>
          <a:srcRect t="122" b="5199"/>
          <a:stretch/>
        </p:blipFill>
        <p:spPr>
          <a:xfrm>
            <a:off x="2880000" y="2062801"/>
            <a:ext cx="2062800" cy="4031999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sp>
        <p:nvSpPr>
          <p:cNvPr id="12" name="모서리가 둥근 직사각형 84">
            <a:extLst>
              <a:ext uri="{FF2B5EF4-FFF2-40B4-BE49-F238E27FC236}">
                <a16:creationId xmlns:a16="http://schemas.microsoft.com/office/drawing/2014/main" id="{65678E9C-4F16-487A-B74B-51A74A529B59}"/>
              </a:ext>
            </a:extLst>
          </p:cNvPr>
          <p:cNvSpPr/>
          <p:nvPr/>
        </p:nvSpPr>
        <p:spPr>
          <a:xfrm>
            <a:off x="2813969" y="5661248"/>
            <a:ext cx="185041" cy="185041"/>
          </a:xfrm>
          <a:prstGeom prst="roundRect">
            <a:avLst/>
          </a:prstGeom>
          <a:solidFill>
            <a:srgbClr val="627E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000" spc="-15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latin typeface="+mn-ea"/>
                <a:cs typeface="Arial" panose="020B0604020202020204" pitchFamily="34" charset="0"/>
              </a:rPr>
              <a:t>2</a:t>
            </a:r>
            <a:endParaRPr lang="ko-KR" altLang="en-US" sz="1000" spc="-150" dirty="0">
              <a:ln>
                <a:solidFill>
                  <a:srgbClr val="5B9BD5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latin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8949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14ACA8"/>
        </a:solidFill>
        <a:ln w="3175" cap="flat" cmpd="sng" algn="ctr">
          <a:solidFill>
            <a:schemeClr val="bg1">
              <a:lumMod val="75000"/>
            </a:schemeClr>
          </a:solidFill>
          <a:prstDash val="solid"/>
          <a:round/>
          <a:headEnd w="med" len="med"/>
          <a:tailEnd w="med" len="med"/>
        </a:ln>
        <a:effectLst/>
      </a:spPr>
      <a:bodyPr lIns="36000" tIns="18000" rIns="36000" bIns="18000" rtlCol="0" anchor="ctr"/>
      <a:lstStyle>
        <a:defPPr algn="ctr">
          <a:defRPr sz="2000" dirty="0" smtClean="0">
            <a:latin typeface="나눔바른고딕" panose="020B0603020101020101" pitchFamily="50" charset="-127"/>
            <a:ea typeface="나눔바른고딕" panose="020B0603020101020101" pitchFamily="50" charset="-127"/>
          </a:defRPr>
        </a:defPPr>
      </a:lst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맑은 고딕"/>
        <a:ea typeface=""/>
        <a:cs typeface=""/>
        <a:font script="Jpan" typeface="MS PGothic"/>
        <a:font script="Hang" typeface="맑은 고딕"/>
        <a:font script="Hans" typeface="SimSun"/>
        <a:font script="Hant" typeface="PMingLiU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MS PGothic"/>
        <a:font script="Hang" typeface="맑은 고딕"/>
        <a:font script="Hans" typeface="SimSun"/>
        <a:font script="Hant" typeface="PMingLiU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맑은 고딕"/>
        <a:ea typeface=""/>
        <a:cs typeface=""/>
        <a:font script="Jpan" typeface="MS PGothic"/>
        <a:font script="Hang" typeface="맑은 고딕"/>
        <a:font script="Hans" typeface="SimSun"/>
        <a:font script="Hant" typeface="PMingLiU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MS PGothic"/>
        <a:font script="Hang" typeface="맑은 고딕"/>
        <a:font script="Hans" typeface="SimSun"/>
        <a:font script="Hant" typeface="PMingLiU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66817</TotalTime>
  <Words>3875</Words>
  <Application>Microsoft Macintosh PowerPoint</Application>
  <PresentationFormat>와이드스크린</PresentationFormat>
  <Paragraphs>1244</Paragraphs>
  <Slides>51</Slides>
  <Notes>38</Notes>
  <HiddenSlides>0</HiddenSlides>
  <MMClips>0</MMClips>
  <ScaleCrop>false</ScaleCrop>
  <HeadingPairs>
    <vt:vector size="8" baseType="variant">
      <vt:variant>
        <vt:lpstr>사용한 글꼴</vt:lpstr>
      </vt:variant>
      <vt:variant>
        <vt:i4>4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51</vt:i4>
      </vt:variant>
    </vt:vector>
  </HeadingPairs>
  <TitlesOfParts>
    <vt:vector size="57" baseType="lpstr">
      <vt:lpstr>Arial</vt:lpstr>
      <vt:lpstr>나눔고딕</vt:lpstr>
      <vt:lpstr>나눔바른고딕</vt:lpstr>
      <vt:lpstr>맑은 고딕</vt:lpstr>
      <vt:lpstr>1_Office 테마</vt:lpstr>
      <vt:lpstr>think-cell Slide</vt:lpstr>
      <vt:lpstr>PowerPoint 프레젠테이션</vt:lpstr>
      <vt:lpstr>문서이력</vt:lpstr>
      <vt:lpstr>재활보조기구 이용자  모바일 앱</vt:lpstr>
      <vt:lpstr>사이트맵</vt:lpstr>
      <vt:lpstr>화면목록</vt:lpstr>
      <vt:lpstr>화면목록</vt:lpstr>
      <vt:lpstr>사용자 인증</vt:lpstr>
      <vt:lpstr>사용자 인증</vt:lpstr>
      <vt:lpstr>사용자 인증</vt:lpstr>
      <vt:lpstr>사용자 인증</vt:lpstr>
      <vt:lpstr>사용자 인증</vt:lpstr>
      <vt:lpstr>사용자 인증</vt:lpstr>
      <vt:lpstr>사용자 인증</vt:lpstr>
      <vt:lpstr>사용자 인증</vt:lpstr>
      <vt:lpstr>전체 서비스</vt:lpstr>
      <vt:lpstr>마이페이지</vt:lpstr>
      <vt:lpstr>마이페이지</vt:lpstr>
      <vt:lpstr>마이페이지</vt:lpstr>
      <vt:lpstr>마이페이지</vt:lpstr>
      <vt:lpstr>마이페이지</vt:lpstr>
      <vt:lpstr>홈</vt:lpstr>
      <vt:lpstr>홈</vt:lpstr>
      <vt:lpstr>마이데이터</vt:lpstr>
      <vt:lpstr>마이데이터</vt:lpstr>
      <vt:lpstr>마이데이터</vt:lpstr>
      <vt:lpstr>마이데이터</vt:lpstr>
      <vt:lpstr>마이데이터</vt:lpstr>
      <vt:lpstr>마이데이터</vt:lpstr>
      <vt:lpstr>마이데이터</vt:lpstr>
      <vt:lpstr>마이데이터</vt:lpstr>
      <vt:lpstr>마이데이터</vt:lpstr>
      <vt:lpstr>마이데이터</vt:lpstr>
      <vt:lpstr>마이데이터</vt:lpstr>
      <vt:lpstr>마이데이터</vt:lpstr>
      <vt:lpstr>마이데이터</vt:lpstr>
      <vt:lpstr>마이데이터</vt:lpstr>
      <vt:lpstr>마이데이터</vt:lpstr>
      <vt:lpstr>방문점검</vt:lpstr>
      <vt:lpstr>방문점검</vt:lpstr>
      <vt:lpstr>방문점검</vt:lpstr>
      <vt:lpstr>방문점검</vt:lpstr>
      <vt:lpstr>맞춤배달</vt:lpstr>
      <vt:lpstr>맞춤배달</vt:lpstr>
      <vt:lpstr>맞춤배달</vt:lpstr>
      <vt:lpstr>맞춤배달</vt:lpstr>
      <vt:lpstr>맞춤예약</vt:lpstr>
      <vt:lpstr>맞춤예약</vt:lpstr>
      <vt:lpstr>맞춤예약</vt:lpstr>
      <vt:lpstr>맞춤예약</vt:lpstr>
      <vt:lpstr>당뇨관리</vt:lpstr>
      <vt:lpstr>당뇨관리</vt:lpstr>
    </vt:vector>
  </TitlesOfParts>
  <Manager/>
  <Company>가립회계법인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의료 마이데이터 실증사업 계획(안)</dc:title>
  <dc:creator>박상율</dc:creator>
  <cp:lastModifiedBy>정후 김</cp:lastModifiedBy>
  <cp:revision>21419</cp:revision>
  <cp:lastPrinted>2023-06-21T06:40:22Z</cp:lastPrinted>
  <dcterms:created xsi:type="dcterms:W3CDTF">1999-11-26T05:46:53Z</dcterms:created>
  <dcterms:modified xsi:type="dcterms:W3CDTF">2023-07-06T05:35:57Z</dcterms:modified>
  <cp:version/>
</cp:coreProperties>
</file>